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003" r:id="rId5"/>
    <p:sldMasterId id="2147484015" r:id="rId6"/>
  </p:sldMasterIdLst>
  <p:notesMasterIdLst>
    <p:notesMasterId r:id="rId13"/>
  </p:notesMasterIdLst>
  <p:handoutMasterIdLst>
    <p:handoutMasterId r:id="rId14"/>
  </p:handoutMasterIdLst>
  <p:sldIdLst>
    <p:sldId id="2146846182" r:id="rId7"/>
    <p:sldId id="2146846137" r:id="rId8"/>
    <p:sldId id="2146846186" r:id="rId9"/>
    <p:sldId id="2146846185" r:id="rId10"/>
    <p:sldId id="2146846183" r:id="rId11"/>
    <p:sldId id="2146846184" r:id="rId12"/>
  </p:sldIdLst>
  <p:sldSz cx="12192000" cy="6858000"/>
  <p:notesSz cx="6858000" cy="9144000"/>
  <p:custDataLst>
    <p:tags r:id="rId15"/>
  </p:custDataLst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3A55"/>
    <a:srgbClr val="A97FF0"/>
    <a:srgbClr val="F9B3B1"/>
    <a:srgbClr val="FCD5D4"/>
    <a:srgbClr val="F4736F"/>
    <a:srgbClr val="FFF599"/>
    <a:srgbClr val="FFE600"/>
    <a:srgbClr val="000000"/>
    <a:srgbClr val="3D108A"/>
    <a:srgbClr val="EBF0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D4565D1-D59D-4BA5-87FC-9E6D8C2A27A1}" v="55" dt="2022-06-29T18:56:05.3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36" autoAdjust="0"/>
    <p:restoredTop sz="94660"/>
  </p:normalViewPr>
  <p:slideViewPr>
    <p:cSldViewPr snapToGrid="0">
      <p:cViewPr varScale="1">
        <p:scale>
          <a:sx n="55" d="100"/>
          <a:sy n="55" d="100"/>
        </p:scale>
        <p:origin x="1080" y="48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acy Unongo" userId="c539233b-2f8d-4ba7-9131-54d319c95f15" providerId="ADAL" clId="{7D4565D1-D59D-4BA5-87FC-9E6D8C2A27A1}"/>
    <pc:docChg chg="undo custSel addSld delSld modSld">
      <pc:chgData name="Stacy Unongo" userId="c539233b-2f8d-4ba7-9131-54d319c95f15" providerId="ADAL" clId="{7D4565D1-D59D-4BA5-87FC-9E6D8C2A27A1}" dt="2022-06-29T18:56:05.322" v="137"/>
      <pc:docMkLst>
        <pc:docMk/>
      </pc:docMkLst>
      <pc:sldChg chg="modSp mod">
        <pc:chgData name="Stacy Unongo" userId="c539233b-2f8d-4ba7-9131-54d319c95f15" providerId="ADAL" clId="{7D4565D1-D59D-4BA5-87FC-9E6D8C2A27A1}" dt="2022-06-29T18:42:48.291" v="76" actId="20577"/>
        <pc:sldMkLst>
          <pc:docMk/>
          <pc:sldMk cId="3576568090" sldId="2146846137"/>
        </pc:sldMkLst>
        <pc:spChg chg="mod">
          <ac:chgData name="Stacy Unongo" userId="c539233b-2f8d-4ba7-9131-54d319c95f15" providerId="ADAL" clId="{7D4565D1-D59D-4BA5-87FC-9E6D8C2A27A1}" dt="2022-06-29T18:38:11.895" v="8" actId="20577"/>
          <ac:spMkLst>
            <pc:docMk/>
            <pc:sldMk cId="3576568090" sldId="2146846137"/>
            <ac:spMk id="6" creationId="{C3E24BFF-A0DB-4ECE-96D3-5EAB937B7323}"/>
          </ac:spMkLst>
        </pc:spChg>
        <pc:spChg chg="mod">
          <ac:chgData name="Stacy Unongo" userId="c539233b-2f8d-4ba7-9131-54d319c95f15" providerId="ADAL" clId="{7D4565D1-D59D-4BA5-87FC-9E6D8C2A27A1}" dt="2022-06-29T18:42:32.957" v="74" actId="6549"/>
          <ac:spMkLst>
            <pc:docMk/>
            <pc:sldMk cId="3576568090" sldId="2146846137"/>
            <ac:spMk id="9" creationId="{C46E46B2-8DA6-4180-BE6E-D6D94C9C18D5}"/>
          </ac:spMkLst>
        </pc:spChg>
        <pc:graphicFrameChg chg="modGraphic">
          <ac:chgData name="Stacy Unongo" userId="c539233b-2f8d-4ba7-9131-54d319c95f15" providerId="ADAL" clId="{7D4565D1-D59D-4BA5-87FC-9E6D8C2A27A1}" dt="2022-06-29T18:42:48.291" v="76" actId="20577"/>
          <ac:graphicFrameMkLst>
            <pc:docMk/>
            <pc:sldMk cId="3576568090" sldId="2146846137"/>
            <ac:graphicFrameMk id="2" creationId="{90C4ECCF-9B28-475A-8668-643F413BD5F2}"/>
          </ac:graphicFrameMkLst>
        </pc:graphicFrameChg>
      </pc:sldChg>
      <pc:sldChg chg="addSp delSp modSp del mod">
        <pc:chgData name="Stacy Unongo" userId="c539233b-2f8d-4ba7-9131-54d319c95f15" providerId="ADAL" clId="{7D4565D1-D59D-4BA5-87FC-9E6D8C2A27A1}" dt="2022-06-29T18:48:29.320" v="127" actId="47"/>
        <pc:sldMkLst>
          <pc:docMk/>
          <pc:sldMk cId="2086611496" sldId="2146846181"/>
        </pc:sldMkLst>
        <pc:graphicFrameChg chg="add del">
          <ac:chgData name="Stacy Unongo" userId="c539233b-2f8d-4ba7-9131-54d319c95f15" providerId="ADAL" clId="{7D4565D1-D59D-4BA5-87FC-9E6D8C2A27A1}" dt="2022-06-29T18:44:59.403" v="83" actId="478"/>
          <ac:graphicFrameMkLst>
            <pc:docMk/>
            <pc:sldMk cId="2086611496" sldId="2146846181"/>
            <ac:graphicFrameMk id="3" creationId="{D2BC709B-5E79-4CCF-A0A4-C614AA750396}"/>
          </ac:graphicFrameMkLst>
        </pc:graphicFrameChg>
        <pc:graphicFrameChg chg="add del mod">
          <ac:chgData name="Stacy Unongo" userId="c539233b-2f8d-4ba7-9131-54d319c95f15" providerId="ADAL" clId="{7D4565D1-D59D-4BA5-87FC-9E6D8C2A27A1}" dt="2022-06-29T18:44:58.970" v="82"/>
          <ac:graphicFrameMkLst>
            <pc:docMk/>
            <pc:sldMk cId="2086611496" sldId="2146846181"/>
            <ac:graphicFrameMk id="5" creationId="{B18A8EB1-B922-4CA5-BC04-810266ED5FF3}"/>
          </ac:graphicFrameMkLst>
        </pc:graphicFrameChg>
      </pc:sldChg>
      <pc:sldChg chg="modSp mod">
        <pc:chgData name="Stacy Unongo" userId="c539233b-2f8d-4ba7-9131-54d319c95f15" providerId="ADAL" clId="{7D4565D1-D59D-4BA5-87FC-9E6D8C2A27A1}" dt="2022-06-29T18:37:52.047" v="6" actId="13926"/>
        <pc:sldMkLst>
          <pc:docMk/>
          <pc:sldMk cId="3423180583" sldId="2146846182"/>
        </pc:sldMkLst>
        <pc:spChg chg="mod">
          <ac:chgData name="Stacy Unongo" userId="c539233b-2f8d-4ba7-9131-54d319c95f15" providerId="ADAL" clId="{7D4565D1-D59D-4BA5-87FC-9E6D8C2A27A1}" dt="2022-06-29T18:37:32.600" v="3" actId="20577"/>
          <ac:spMkLst>
            <pc:docMk/>
            <pc:sldMk cId="3423180583" sldId="2146846182"/>
            <ac:spMk id="6" creationId="{C3E24BFF-A0DB-4ECE-96D3-5EAB937B7323}"/>
          </ac:spMkLst>
        </pc:spChg>
        <pc:spChg chg="mod">
          <ac:chgData name="Stacy Unongo" userId="c539233b-2f8d-4ba7-9131-54d319c95f15" providerId="ADAL" clId="{7D4565D1-D59D-4BA5-87FC-9E6D8C2A27A1}" dt="2022-06-29T18:37:52.047" v="6" actId="13926"/>
          <ac:spMkLst>
            <pc:docMk/>
            <pc:sldMk cId="3423180583" sldId="2146846182"/>
            <ac:spMk id="8" creationId="{F3692B0D-82AC-41A6-A5BD-1A4B9AC9B985}"/>
          </ac:spMkLst>
        </pc:spChg>
      </pc:sldChg>
      <pc:sldChg chg="modSp mod">
        <pc:chgData name="Stacy Unongo" userId="c539233b-2f8d-4ba7-9131-54d319c95f15" providerId="ADAL" clId="{7D4565D1-D59D-4BA5-87FC-9E6D8C2A27A1}" dt="2022-06-29T18:51:40.906" v="134" actId="313"/>
        <pc:sldMkLst>
          <pc:docMk/>
          <pc:sldMk cId="507185931" sldId="2146846183"/>
        </pc:sldMkLst>
        <pc:spChg chg="mod">
          <ac:chgData name="Stacy Unongo" userId="c539233b-2f8d-4ba7-9131-54d319c95f15" providerId="ADAL" clId="{7D4565D1-D59D-4BA5-87FC-9E6D8C2A27A1}" dt="2022-06-29T18:51:40.906" v="134" actId="313"/>
          <ac:spMkLst>
            <pc:docMk/>
            <pc:sldMk cId="507185931" sldId="2146846183"/>
            <ac:spMk id="5" creationId="{6E49E39F-F76B-4529-AA0D-759FC5E76058}"/>
          </ac:spMkLst>
        </pc:spChg>
      </pc:sldChg>
      <pc:sldChg chg="modSp mod">
        <pc:chgData name="Stacy Unongo" userId="c539233b-2f8d-4ba7-9131-54d319c95f15" providerId="ADAL" clId="{7D4565D1-D59D-4BA5-87FC-9E6D8C2A27A1}" dt="2022-06-29T18:43:35.092" v="79" actId="6549"/>
        <pc:sldMkLst>
          <pc:docMk/>
          <pc:sldMk cId="1782819611" sldId="2146846184"/>
        </pc:sldMkLst>
        <pc:spChg chg="mod">
          <ac:chgData name="Stacy Unongo" userId="c539233b-2f8d-4ba7-9131-54d319c95f15" providerId="ADAL" clId="{7D4565D1-D59D-4BA5-87FC-9E6D8C2A27A1}" dt="2022-06-29T18:43:35.092" v="79" actId="6549"/>
          <ac:spMkLst>
            <pc:docMk/>
            <pc:sldMk cId="1782819611" sldId="2146846184"/>
            <ac:spMk id="6" creationId="{0A517DF4-1816-4D94-8554-7D5EE68F9C77}"/>
          </ac:spMkLst>
        </pc:spChg>
      </pc:sldChg>
      <pc:sldChg chg="addSp delSp modSp mod delAnim modAnim">
        <pc:chgData name="Stacy Unongo" userId="c539233b-2f8d-4ba7-9131-54d319c95f15" providerId="ADAL" clId="{7D4565D1-D59D-4BA5-87FC-9E6D8C2A27A1}" dt="2022-06-29T18:56:05.322" v="137"/>
        <pc:sldMkLst>
          <pc:docMk/>
          <pc:sldMk cId="3329905440" sldId="2146846185"/>
        </pc:sldMkLst>
        <pc:spChg chg="mod">
          <ac:chgData name="Stacy Unongo" userId="c539233b-2f8d-4ba7-9131-54d319c95f15" providerId="ADAL" clId="{7D4565D1-D59D-4BA5-87FC-9E6D8C2A27A1}" dt="2022-06-29T18:42:56.874" v="78" actId="20577"/>
          <ac:spMkLst>
            <pc:docMk/>
            <pc:sldMk cId="3329905440" sldId="2146846185"/>
            <ac:spMk id="4" creationId="{FC76E031-57AE-42BC-A053-96A2FC870AA8}"/>
          </ac:spMkLst>
        </pc:spChg>
        <pc:picChg chg="del">
          <ac:chgData name="Stacy Unongo" userId="c539233b-2f8d-4ba7-9131-54d319c95f15" providerId="ADAL" clId="{7D4565D1-D59D-4BA5-87FC-9E6D8C2A27A1}" dt="2022-06-29T18:55:56.429" v="135" actId="478"/>
          <ac:picMkLst>
            <pc:docMk/>
            <pc:sldMk cId="3329905440" sldId="2146846185"/>
            <ac:picMk id="2" creationId="{743D9FB4-5C0C-4C1C-84A0-C639CA6645D2}"/>
          </ac:picMkLst>
        </pc:picChg>
        <pc:picChg chg="del">
          <ac:chgData name="Stacy Unongo" userId="c539233b-2f8d-4ba7-9131-54d319c95f15" providerId="ADAL" clId="{7D4565D1-D59D-4BA5-87FC-9E6D8C2A27A1}" dt="2022-06-29T18:55:56.429" v="135" actId="478"/>
          <ac:picMkLst>
            <pc:docMk/>
            <pc:sldMk cId="3329905440" sldId="2146846185"/>
            <ac:picMk id="7" creationId="{AE2C3492-883E-43A1-80BC-CF75C2934946}"/>
          </ac:picMkLst>
        </pc:picChg>
        <pc:picChg chg="del">
          <ac:chgData name="Stacy Unongo" userId="c539233b-2f8d-4ba7-9131-54d319c95f15" providerId="ADAL" clId="{7D4565D1-D59D-4BA5-87FC-9E6D8C2A27A1}" dt="2022-06-29T18:56:04.661" v="136" actId="478"/>
          <ac:picMkLst>
            <pc:docMk/>
            <pc:sldMk cId="3329905440" sldId="2146846185"/>
            <ac:picMk id="8" creationId="{0B15FACB-28EA-4996-BA2C-F88AE114809C}"/>
          </ac:picMkLst>
        </pc:picChg>
        <pc:picChg chg="del">
          <ac:chgData name="Stacy Unongo" userId="c539233b-2f8d-4ba7-9131-54d319c95f15" providerId="ADAL" clId="{7D4565D1-D59D-4BA5-87FC-9E6D8C2A27A1}" dt="2022-06-29T18:55:56.429" v="135" actId="478"/>
          <ac:picMkLst>
            <pc:docMk/>
            <pc:sldMk cId="3329905440" sldId="2146846185"/>
            <ac:picMk id="9" creationId="{05BC2E2A-2BC3-46DA-8B39-6E5ABAAC13EE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0" creationId="{D431665D-C260-4B31-98CA-1BC9D6C71AF7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1" creationId="{F2F5A9EE-6937-4783-A5D4-C506B4E908E5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2" creationId="{1A601AE5-FE0B-4A6D-AFFF-EBA9C8404687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3" creationId="{8FD478F3-A91A-445A-8AD4-6B3A5F798387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4" creationId="{38F146BF-8F5A-4F87-A05B-893C327A2A6D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5" creationId="{5F8D88EE-A55F-48A0-8934-F2F089AF38D1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6" creationId="{A5ABE426-ACBF-42B4-A6D6-32CB4B4C0BAB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7" creationId="{F44DC3A0-ABCD-4E50-A089-83E47582C0DA}"/>
          </ac:picMkLst>
        </pc:picChg>
        <pc:picChg chg="add mod">
          <ac:chgData name="Stacy Unongo" userId="c539233b-2f8d-4ba7-9131-54d319c95f15" providerId="ADAL" clId="{7D4565D1-D59D-4BA5-87FC-9E6D8C2A27A1}" dt="2022-06-29T18:56:05.322" v="137"/>
          <ac:picMkLst>
            <pc:docMk/>
            <pc:sldMk cId="3329905440" sldId="2146846185"/>
            <ac:picMk id="18" creationId="{E2AA9FA2-C80A-425F-B022-0D21F9EAA357}"/>
          </ac:picMkLst>
        </pc:picChg>
      </pc:sldChg>
      <pc:sldChg chg="addSp delSp modSp add mod">
        <pc:chgData name="Stacy Unongo" userId="c539233b-2f8d-4ba7-9131-54d319c95f15" providerId="ADAL" clId="{7D4565D1-D59D-4BA5-87FC-9E6D8C2A27A1}" dt="2022-06-29T18:45:56.404" v="126" actId="20577"/>
        <pc:sldMkLst>
          <pc:docMk/>
          <pc:sldMk cId="2996707611" sldId="2146846186"/>
        </pc:sldMkLst>
        <pc:spChg chg="mod">
          <ac:chgData name="Stacy Unongo" userId="c539233b-2f8d-4ba7-9131-54d319c95f15" providerId="ADAL" clId="{7D4565D1-D59D-4BA5-87FC-9E6D8C2A27A1}" dt="2022-06-29T18:45:27.697" v="114" actId="20577"/>
          <ac:spMkLst>
            <pc:docMk/>
            <pc:sldMk cId="2996707611" sldId="2146846186"/>
            <ac:spMk id="4" creationId="{FC76E031-57AE-42BC-A053-96A2FC870AA8}"/>
          </ac:spMkLst>
        </pc:spChg>
        <pc:graphicFrameChg chg="del">
          <ac:chgData name="Stacy Unongo" userId="c539233b-2f8d-4ba7-9131-54d319c95f15" providerId="ADAL" clId="{7D4565D1-D59D-4BA5-87FC-9E6D8C2A27A1}" dt="2022-06-29T18:45:06.007" v="85" actId="478"/>
          <ac:graphicFrameMkLst>
            <pc:docMk/>
            <pc:sldMk cId="2996707611" sldId="2146846186"/>
            <ac:graphicFrameMk id="3" creationId="{D2BC709B-5E79-4CCF-A0A4-C614AA750396}"/>
          </ac:graphicFrameMkLst>
        </pc:graphicFrameChg>
        <pc:graphicFrameChg chg="add mod">
          <ac:chgData name="Stacy Unongo" userId="c539233b-2f8d-4ba7-9131-54d319c95f15" providerId="ADAL" clId="{7D4565D1-D59D-4BA5-87FC-9E6D8C2A27A1}" dt="2022-06-29T18:45:56.404" v="126" actId="20577"/>
          <ac:graphicFrameMkLst>
            <pc:docMk/>
            <pc:sldMk cId="2996707611" sldId="2146846186"/>
            <ac:graphicFrameMk id="5" creationId="{22CB9D27-7E73-46DE-82DB-95B71ABE2F75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B34FA22-C699-4CE4-B99B-DF4CA460246A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s-CO"/>
        </a:p>
      </dgm:t>
    </dgm:pt>
    <dgm:pt modelId="{DED85AAE-0B3A-440A-A091-81DDC9CCB698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Quem é você? 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eva uma frase sobre você. Por exemplo, você pode se apresentar como consultor para pequenos empresários.</a:t>
          </a:r>
          <a:endParaRPr lang="es-CO" sz="1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3FD7C51-ECF1-4AE0-89D1-BAD216764DBE}" type="parTrans" cxnId="{117BEF69-5EBB-49E8-9247-4DF549643A12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08CFD6-FB7A-46AF-BED8-3F9AD575FD2D}" type="sibTrans" cxnId="{117BEF69-5EBB-49E8-9247-4DF549643A12}">
      <dgm:prSet/>
      <dgm:spPr>
        <a:solidFill>
          <a:schemeClr val="bg1"/>
        </a:solidFill>
        <a:ln>
          <a:solidFill>
            <a:schemeClr val="bg1"/>
          </a:solidFill>
        </a:ln>
      </dgm:spPr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D9826E3-7A4C-49BC-AF06-891A85B87D60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O que você faz ou oferece? 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Usando seu produto ou serviço como guia, escreva uma frase sobre o que você faz todos os dias em seu negócio. Se sua ênfase é em técnicas de economia de tempo, informe brevemente como suas estratégias funcionam.</a:t>
          </a:r>
          <a:endParaRPr lang="es-CO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B5A92B6-F64B-4840-9188-06864783B4E3}" type="parTrans" cxnId="{1367E025-B9D8-4EB8-8E78-AA7B30FA1965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22C613B-E25C-467B-AFFB-F24A10A0DCC3}" type="sibTrans" cxnId="{1367E025-B9D8-4EB8-8E78-AA7B30FA1965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2DCE66A-A11D-460B-91F4-64260FA57A43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Que problema você resolve? 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entifique o valor que oferece aos seus clientes ou clientes. Evite listar apenas seus recursos e, em vez disso, traduza-os em benefícios para o seu ouvinte.</a:t>
          </a:r>
          <a:endParaRPr lang="es-CO" sz="1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6DA656A-219A-47C6-9A2C-16F97ADE07B7}" type="parTrans" cxnId="{FC02BC72-232D-415E-B7C2-7B56D6CD2698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46B8E2-C505-4375-A366-D04EE0F7FFC1}" type="sibTrans" cxnId="{FC02BC72-232D-415E-B7C2-7B56D6CD2698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790B87-F28C-43EB-BB79-41E927AF31D5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omo você é diferente?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 Escreva sobre o que te diferencia de todos os outros negócios. Talvez você tenha tido experiências relevantes e superá-las você mesmo, ou sua empresa tem uma estratégia única</a:t>
          </a:r>
          <a:r>
            <a:rPr lang="en-US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s-CO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4F8D37-FF79-4294-B939-AA036967F788}" type="parTrans" cxnId="{7FFA4FA8-88EC-47C0-AA72-1C891F16EBEC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F28A3ED-CEBC-49E5-AF4E-571DBFE2023A}" type="sibTrans" cxnId="{7FFA4FA8-88EC-47C0-AA72-1C891F16EBEC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235FFD4-A423-4DD7-8A53-899305F77B07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25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Faça uma pergunta. </a:t>
          </a:r>
          <a:r>
            <a:rPr lang="pt-BR" sz="125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Os </a:t>
          </a:r>
          <a:r>
            <a:rPr lang="pt-BR" sz="1250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es</a:t>
          </a:r>
          <a:r>
            <a:rPr lang="pt-BR" sz="125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de elevador geralmente são entregues pessoalmente, como um elevador ou em um evento de rede, o que significa que você quer ser social e conversar. Uma ótima maneira de envolver seu ouvinte é fazer uma pergunta que se relacione com eles e seus negócios.</a:t>
          </a:r>
          <a:endParaRPr lang="es-CO" sz="125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EF9A06-41E6-4579-9EBD-11712150DAEE}" type="parTrans" cxnId="{EAD8F6AC-4CF7-4C6D-917C-06907C77DD37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D8E5D52-BE8C-49EE-896D-A267D972DD1B}" type="sibTrans" cxnId="{EAD8F6AC-4CF7-4C6D-917C-06907C77DD37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1DC186-6130-48BC-96E5-1523435DC9C7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pt-BR" sz="1400" b="1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Dê uma chamada à ação. 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Para encerrar seu </a:t>
          </a:r>
          <a:r>
            <a:rPr lang="pt-BR" sz="1400" b="0" i="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</a:t>
          </a:r>
          <a:r>
            <a:rPr lang="pt-BR" sz="1400" b="0" i="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, dê à liderança algo para fazer em seguida em uma chamada à ação. Deixe seu público saber o que pode fazer para acompanhar e ouvir mais. Forneça um meio para mais contato ou para agendar uma reunião.</a:t>
          </a:r>
          <a:endParaRPr lang="es-CO" sz="1400" b="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AE033CD-8451-4F85-9DF7-F96F76A46601}" type="parTrans" cxnId="{5467A8C1-421E-4F95-96D3-EDB184855EE7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F61BD7C-EB7B-480F-8958-A95055BC4681}" type="sibTrans" cxnId="{5467A8C1-421E-4F95-96D3-EDB184855EE7}">
      <dgm:prSet/>
      <dgm:spPr/>
      <dgm:t>
        <a:bodyPr/>
        <a:lstStyle/>
        <a:p>
          <a:endParaRPr lang="es-CO" sz="140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39E7E48-DC7D-464B-BDEB-A75BA583ABB4}" type="pres">
      <dgm:prSet presAssocID="{3B34FA22-C699-4CE4-B99B-DF4CA460246A}" presName="Name0" presStyleCnt="0">
        <dgm:presLayoutVars>
          <dgm:chMax val="7"/>
          <dgm:chPref val="7"/>
          <dgm:dir/>
        </dgm:presLayoutVars>
      </dgm:prSet>
      <dgm:spPr/>
    </dgm:pt>
    <dgm:pt modelId="{7CD93213-7397-4B04-AB76-FAAA71679A3E}" type="pres">
      <dgm:prSet presAssocID="{3B34FA22-C699-4CE4-B99B-DF4CA460246A}" presName="Name1" presStyleCnt="0"/>
      <dgm:spPr/>
    </dgm:pt>
    <dgm:pt modelId="{4E058D9B-DC5C-41AC-8F39-4E0EA2B2EE72}" type="pres">
      <dgm:prSet presAssocID="{3B34FA22-C699-4CE4-B99B-DF4CA460246A}" presName="cycle" presStyleCnt="0"/>
      <dgm:spPr/>
    </dgm:pt>
    <dgm:pt modelId="{0E387ABE-49EF-47FF-898C-9254A59540D4}" type="pres">
      <dgm:prSet presAssocID="{3B34FA22-C699-4CE4-B99B-DF4CA460246A}" presName="srcNode" presStyleLbl="node1" presStyleIdx="0" presStyleCnt="6"/>
      <dgm:spPr/>
    </dgm:pt>
    <dgm:pt modelId="{5D702936-E4FA-4019-A72A-21728BC98C33}" type="pres">
      <dgm:prSet presAssocID="{3B34FA22-C699-4CE4-B99B-DF4CA460246A}" presName="conn" presStyleLbl="parChTrans1D2" presStyleIdx="0" presStyleCnt="1"/>
      <dgm:spPr/>
    </dgm:pt>
    <dgm:pt modelId="{38AAF6A4-4B43-4425-AD0F-AF7067A27ED5}" type="pres">
      <dgm:prSet presAssocID="{3B34FA22-C699-4CE4-B99B-DF4CA460246A}" presName="extraNode" presStyleLbl="node1" presStyleIdx="0" presStyleCnt="6"/>
      <dgm:spPr/>
    </dgm:pt>
    <dgm:pt modelId="{CC365097-6F7F-48A4-BE33-35CD6F9FDC75}" type="pres">
      <dgm:prSet presAssocID="{3B34FA22-C699-4CE4-B99B-DF4CA460246A}" presName="dstNode" presStyleLbl="node1" presStyleIdx="0" presStyleCnt="6"/>
      <dgm:spPr/>
    </dgm:pt>
    <dgm:pt modelId="{B778E06A-BF48-4327-B289-35215ED7D018}" type="pres">
      <dgm:prSet presAssocID="{DED85AAE-0B3A-440A-A091-81DDC9CCB698}" presName="text_1" presStyleLbl="node1" presStyleIdx="0" presStyleCnt="6">
        <dgm:presLayoutVars>
          <dgm:bulletEnabled val="1"/>
        </dgm:presLayoutVars>
      </dgm:prSet>
      <dgm:spPr/>
    </dgm:pt>
    <dgm:pt modelId="{D632F8C8-2210-49F4-86E1-4138A8224816}" type="pres">
      <dgm:prSet presAssocID="{DED85AAE-0B3A-440A-A091-81DDC9CCB698}" presName="accent_1" presStyleCnt="0"/>
      <dgm:spPr/>
    </dgm:pt>
    <dgm:pt modelId="{46BBBD3E-8152-4C45-8412-F3ED8435D29C}" type="pres">
      <dgm:prSet presAssocID="{DED85AAE-0B3A-440A-A091-81DDC9CCB698}" presName="accentRepeatNode" presStyleLbl="solidFgAcc1" presStyleIdx="0" presStyleCnt="6"/>
      <dgm:spPr/>
    </dgm:pt>
    <dgm:pt modelId="{21323939-08AE-4FB7-BEDC-1118708BAD97}" type="pres">
      <dgm:prSet presAssocID="{5D9826E3-7A4C-49BC-AF06-891A85B87D60}" presName="text_2" presStyleLbl="node1" presStyleIdx="1" presStyleCnt="6">
        <dgm:presLayoutVars>
          <dgm:bulletEnabled val="1"/>
        </dgm:presLayoutVars>
      </dgm:prSet>
      <dgm:spPr/>
    </dgm:pt>
    <dgm:pt modelId="{C9FA8F11-4A21-470F-A0F4-14BD96889E99}" type="pres">
      <dgm:prSet presAssocID="{5D9826E3-7A4C-49BC-AF06-891A85B87D60}" presName="accent_2" presStyleCnt="0"/>
      <dgm:spPr/>
    </dgm:pt>
    <dgm:pt modelId="{27B2C429-60E2-4889-B09A-00F54F9B7D05}" type="pres">
      <dgm:prSet presAssocID="{5D9826E3-7A4C-49BC-AF06-891A85B87D60}" presName="accentRepeatNode" presStyleLbl="solidFgAcc1" presStyleIdx="1" presStyleCnt="6"/>
      <dgm:spPr/>
    </dgm:pt>
    <dgm:pt modelId="{2EC40ED0-4B78-46ED-B6CB-4FC31E370E9F}" type="pres">
      <dgm:prSet presAssocID="{92DCE66A-A11D-460B-91F4-64260FA57A43}" presName="text_3" presStyleLbl="node1" presStyleIdx="2" presStyleCnt="6">
        <dgm:presLayoutVars>
          <dgm:bulletEnabled val="1"/>
        </dgm:presLayoutVars>
      </dgm:prSet>
      <dgm:spPr/>
    </dgm:pt>
    <dgm:pt modelId="{03A27A33-ABD2-4BCC-8A3B-41EEC998A919}" type="pres">
      <dgm:prSet presAssocID="{92DCE66A-A11D-460B-91F4-64260FA57A43}" presName="accent_3" presStyleCnt="0"/>
      <dgm:spPr/>
    </dgm:pt>
    <dgm:pt modelId="{B7C0E4BB-1EFA-49EA-9195-37060E0897F9}" type="pres">
      <dgm:prSet presAssocID="{92DCE66A-A11D-460B-91F4-64260FA57A43}" presName="accentRepeatNode" presStyleLbl="solidFgAcc1" presStyleIdx="2" presStyleCnt="6"/>
      <dgm:spPr/>
    </dgm:pt>
    <dgm:pt modelId="{3533E0EA-B9CA-473F-9AF5-90FD6F6F5170}" type="pres">
      <dgm:prSet presAssocID="{C7790B87-F28C-43EB-BB79-41E927AF31D5}" presName="text_4" presStyleLbl="node1" presStyleIdx="3" presStyleCnt="6">
        <dgm:presLayoutVars>
          <dgm:bulletEnabled val="1"/>
        </dgm:presLayoutVars>
      </dgm:prSet>
      <dgm:spPr/>
    </dgm:pt>
    <dgm:pt modelId="{8F5D3E50-10EF-4AF7-976C-E2372DAE1295}" type="pres">
      <dgm:prSet presAssocID="{C7790B87-F28C-43EB-BB79-41E927AF31D5}" presName="accent_4" presStyleCnt="0"/>
      <dgm:spPr/>
    </dgm:pt>
    <dgm:pt modelId="{3DDAA06E-4297-49EB-A8DE-7200FD6F5381}" type="pres">
      <dgm:prSet presAssocID="{C7790B87-F28C-43EB-BB79-41E927AF31D5}" presName="accentRepeatNode" presStyleLbl="solidFgAcc1" presStyleIdx="3" presStyleCnt="6"/>
      <dgm:spPr/>
    </dgm:pt>
    <dgm:pt modelId="{318A4CEC-421D-4A4B-AB35-83FD949BA5A1}" type="pres">
      <dgm:prSet presAssocID="{A235FFD4-A423-4DD7-8A53-899305F77B07}" presName="text_5" presStyleLbl="node1" presStyleIdx="4" presStyleCnt="6">
        <dgm:presLayoutVars>
          <dgm:bulletEnabled val="1"/>
        </dgm:presLayoutVars>
      </dgm:prSet>
      <dgm:spPr/>
    </dgm:pt>
    <dgm:pt modelId="{25FE917F-4D0D-4C65-A159-652943E04820}" type="pres">
      <dgm:prSet presAssocID="{A235FFD4-A423-4DD7-8A53-899305F77B07}" presName="accent_5" presStyleCnt="0"/>
      <dgm:spPr/>
    </dgm:pt>
    <dgm:pt modelId="{118700B4-7EAD-44A0-B3D0-8D93717D2E08}" type="pres">
      <dgm:prSet presAssocID="{A235FFD4-A423-4DD7-8A53-899305F77B07}" presName="accentRepeatNode" presStyleLbl="solidFgAcc1" presStyleIdx="4" presStyleCnt="6"/>
      <dgm:spPr/>
    </dgm:pt>
    <dgm:pt modelId="{1CDC033A-4D7B-4351-9FC2-00F4F8C0507C}" type="pres">
      <dgm:prSet presAssocID="{2E1DC186-6130-48BC-96E5-1523435DC9C7}" presName="text_6" presStyleLbl="node1" presStyleIdx="5" presStyleCnt="6">
        <dgm:presLayoutVars>
          <dgm:bulletEnabled val="1"/>
        </dgm:presLayoutVars>
      </dgm:prSet>
      <dgm:spPr/>
    </dgm:pt>
    <dgm:pt modelId="{2EBB2F1A-9782-4996-8D0B-FFD24EAC715E}" type="pres">
      <dgm:prSet presAssocID="{2E1DC186-6130-48BC-96E5-1523435DC9C7}" presName="accent_6" presStyleCnt="0"/>
      <dgm:spPr/>
    </dgm:pt>
    <dgm:pt modelId="{92C2F75D-2E6B-4D4C-9067-351A5C46FE7C}" type="pres">
      <dgm:prSet presAssocID="{2E1DC186-6130-48BC-96E5-1523435DC9C7}" presName="accentRepeatNode" presStyleLbl="solidFgAcc1" presStyleIdx="5" presStyleCnt="6"/>
      <dgm:spPr/>
    </dgm:pt>
  </dgm:ptLst>
  <dgm:cxnLst>
    <dgm:cxn modelId="{1367E025-B9D8-4EB8-8E78-AA7B30FA1965}" srcId="{3B34FA22-C699-4CE4-B99B-DF4CA460246A}" destId="{5D9826E3-7A4C-49BC-AF06-891A85B87D60}" srcOrd="1" destOrd="0" parTransId="{3B5A92B6-F64B-4840-9188-06864783B4E3}" sibTransId="{922C613B-E25C-467B-AFFB-F24A10A0DCC3}"/>
    <dgm:cxn modelId="{F972143F-86DC-4725-A6E5-29E1307082AF}" type="presOf" srcId="{C7790B87-F28C-43EB-BB79-41E927AF31D5}" destId="{3533E0EA-B9CA-473F-9AF5-90FD6F6F5170}" srcOrd="0" destOrd="0" presId="urn:microsoft.com/office/officeart/2008/layout/VerticalCurvedList"/>
    <dgm:cxn modelId="{117BEF69-5EBB-49E8-9247-4DF549643A12}" srcId="{3B34FA22-C699-4CE4-B99B-DF4CA460246A}" destId="{DED85AAE-0B3A-440A-A091-81DDC9CCB698}" srcOrd="0" destOrd="0" parTransId="{93FD7C51-ECF1-4AE0-89D1-BAD216764DBE}" sibTransId="{1808CFD6-FB7A-46AF-BED8-3F9AD575FD2D}"/>
    <dgm:cxn modelId="{FC02BC72-232D-415E-B7C2-7B56D6CD2698}" srcId="{3B34FA22-C699-4CE4-B99B-DF4CA460246A}" destId="{92DCE66A-A11D-460B-91F4-64260FA57A43}" srcOrd="2" destOrd="0" parTransId="{16DA656A-219A-47C6-9A2C-16F97ADE07B7}" sibTransId="{4146B8E2-C505-4375-A366-D04EE0F7FFC1}"/>
    <dgm:cxn modelId="{6B707091-4218-4CF4-ABAB-1DB02D7B3D7A}" type="presOf" srcId="{1808CFD6-FB7A-46AF-BED8-3F9AD575FD2D}" destId="{5D702936-E4FA-4019-A72A-21728BC98C33}" srcOrd="0" destOrd="0" presId="urn:microsoft.com/office/officeart/2008/layout/VerticalCurvedList"/>
    <dgm:cxn modelId="{368F8694-D71F-47D7-BF41-5F95A846C26F}" type="presOf" srcId="{92DCE66A-A11D-460B-91F4-64260FA57A43}" destId="{2EC40ED0-4B78-46ED-B6CB-4FC31E370E9F}" srcOrd="0" destOrd="0" presId="urn:microsoft.com/office/officeart/2008/layout/VerticalCurvedList"/>
    <dgm:cxn modelId="{EF8B3C9A-CFBA-469B-B128-C7DA2FB7C6D1}" type="presOf" srcId="{3B34FA22-C699-4CE4-B99B-DF4CA460246A}" destId="{039E7E48-DC7D-464B-BDEB-A75BA583ABB4}" srcOrd="0" destOrd="0" presId="urn:microsoft.com/office/officeart/2008/layout/VerticalCurvedList"/>
    <dgm:cxn modelId="{24ED56A0-1366-468F-98FE-08EEFF25B0B6}" type="presOf" srcId="{2E1DC186-6130-48BC-96E5-1523435DC9C7}" destId="{1CDC033A-4D7B-4351-9FC2-00F4F8C0507C}" srcOrd="0" destOrd="0" presId="urn:microsoft.com/office/officeart/2008/layout/VerticalCurvedList"/>
    <dgm:cxn modelId="{7FFA4FA8-88EC-47C0-AA72-1C891F16EBEC}" srcId="{3B34FA22-C699-4CE4-B99B-DF4CA460246A}" destId="{C7790B87-F28C-43EB-BB79-41E927AF31D5}" srcOrd="3" destOrd="0" parTransId="{494F8D37-FF79-4294-B939-AA036967F788}" sibTransId="{0F28A3ED-CEBC-49E5-AF4E-571DBFE2023A}"/>
    <dgm:cxn modelId="{EAD8F6AC-4CF7-4C6D-917C-06907C77DD37}" srcId="{3B34FA22-C699-4CE4-B99B-DF4CA460246A}" destId="{A235FFD4-A423-4DD7-8A53-899305F77B07}" srcOrd="4" destOrd="0" parTransId="{F8EF9A06-41E6-4579-9EBD-11712150DAEE}" sibTransId="{5D8E5D52-BE8C-49EE-896D-A267D972DD1B}"/>
    <dgm:cxn modelId="{DEEC82B8-6778-4F13-9024-4A88388422F8}" type="presOf" srcId="{A235FFD4-A423-4DD7-8A53-899305F77B07}" destId="{318A4CEC-421D-4A4B-AB35-83FD949BA5A1}" srcOrd="0" destOrd="0" presId="urn:microsoft.com/office/officeart/2008/layout/VerticalCurvedList"/>
    <dgm:cxn modelId="{5467A8C1-421E-4F95-96D3-EDB184855EE7}" srcId="{3B34FA22-C699-4CE4-B99B-DF4CA460246A}" destId="{2E1DC186-6130-48BC-96E5-1523435DC9C7}" srcOrd="5" destOrd="0" parTransId="{FAE033CD-8451-4F85-9DF7-F96F76A46601}" sibTransId="{EF61BD7C-EB7B-480F-8958-A95055BC4681}"/>
    <dgm:cxn modelId="{20C530DF-2E07-4843-9A95-CD37990B8025}" type="presOf" srcId="{DED85AAE-0B3A-440A-A091-81DDC9CCB698}" destId="{B778E06A-BF48-4327-B289-35215ED7D018}" srcOrd="0" destOrd="0" presId="urn:microsoft.com/office/officeart/2008/layout/VerticalCurvedList"/>
    <dgm:cxn modelId="{D62D20F5-DD9F-49D2-9DE8-35A8E1D9D1D7}" type="presOf" srcId="{5D9826E3-7A4C-49BC-AF06-891A85B87D60}" destId="{21323939-08AE-4FB7-BEDC-1118708BAD97}" srcOrd="0" destOrd="0" presId="urn:microsoft.com/office/officeart/2008/layout/VerticalCurvedList"/>
    <dgm:cxn modelId="{996C0E10-BBF0-432F-8B88-038A57E5E28E}" type="presParOf" srcId="{039E7E48-DC7D-464B-BDEB-A75BA583ABB4}" destId="{7CD93213-7397-4B04-AB76-FAAA71679A3E}" srcOrd="0" destOrd="0" presId="urn:microsoft.com/office/officeart/2008/layout/VerticalCurvedList"/>
    <dgm:cxn modelId="{EF5FCB45-174C-4406-89D9-51A7D0C04942}" type="presParOf" srcId="{7CD93213-7397-4B04-AB76-FAAA71679A3E}" destId="{4E058D9B-DC5C-41AC-8F39-4E0EA2B2EE72}" srcOrd="0" destOrd="0" presId="urn:microsoft.com/office/officeart/2008/layout/VerticalCurvedList"/>
    <dgm:cxn modelId="{44956D27-4F4B-4A44-BFC9-329573A4BD22}" type="presParOf" srcId="{4E058D9B-DC5C-41AC-8F39-4E0EA2B2EE72}" destId="{0E387ABE-49EF-47FF-898C-9254A59540D4}" srcOrd="0" destOrd="0" presId="urn:microsoft.com/office/officeart/2008/layout/VerticalCurvedList"/>
    <dgm:cxn modelId="{325B3062-2F81-4B59-BE2E-9E6830A7DD62}" type="presParOf" srcId="{4E058D9B-DC5C-41AC-8F39-4E0EA2B2EE72}" destId="{5D702936-E4FA-4019-A72A-21728BC98C33}" srcOrd="1" destOrd="0" presId="urn:microsoft.com/office/officeart/2008/layout/VerticalCurvedList"/>
    <dgm:cxn modelId="{1FAB9864-E809-44ED-AE8E-2FA7C6D40AD2}" type="presParOf" srcId="{4E058D9B-DC5C-41AC-8F39-4E0EA2B2EE72}" destId="{38AAF6A4-4B43-4425-AD0F-AF7067A27ED5}" srcOrd="2" destOrd="0" presId="urn:microsoft.com/office/officeart/2008/layout/VerticalCurvedList"/>
    <dgm:cxn modelId="{A2A9150B-1A5A-48E2-9E03-E65AD89C9807}" type="presParOf" srcId="{4E058D9B-DC5C-41AC-8F39-4E0EA2B2EE72}" destId="{CC365097-6F7F-48A4-BE33-35CD6F9FDC75}" srcOrd="3" destOrd="0" presId="urn:microsoft.com/office/officeart/2008/layout/VerticalCurvedList"/>
    <dgm:cxn modelId="{E1B9E832-8EF9-47C7-AEBC-526AA5F40F3F}" type="presParOf" srcId="{7CD93213-7397-4B04-AB76-FAAA71679A3E}" destId="{B778E06A-BF48-4327-B289-35215ED7D018}" srcOrd="1" destOrd="0" presId="urn:microsoft.com/office/officeart/2008/layout/VerticalCurvedList"/>
    <dgm:cxn modelId="{8F377C7B-9D22-4EA2-9B2C-6C706214B97B}" type="presParOf" srcId="{7CD93213-7397-4B04-AB76-FAAA71679A3E}" destId="{D632F8C8-2210-49F4-86E1-4138A8224816}" srcOrd="2" destOrd="0" presId="urn:microsoft.com/office/officeart/2008/layout/VerticalCurvedList"/>
    <dgm:cxn modelId="{DA54DB51-4CE4-4F98-A09F-AFABEE04894B}" type="presParOf" srcId="{D632F8C8-2210-49F4-86E1-4138A8224816}" destId="{46BBBD3E-8152-4C45-8412-F3ED8435D29C}" srcOrd="0" destOrd="0" presId="urn:microsoft.com/office/officeart/2008/layout/VerticalCurvedList"/>
    <dgm:cxn modelId="{F111F28C-7D83-4698-A98E-1FA37C0FDCFD}" type="presParOf" srcId="{7CD93213-7397-4B04-AB76-FAAA71679A3E}" destId="{21323939-08AE-4FB7-BEDC-1118708BAD97}" srcOrd="3" destOrd="0" presId="urn:microsoft.com/office/officeart/2008/layout/VerticalCurvedList"/>
    <dgm:cxn modelId="{7B041CC1-C0AD-4FC1-A257-419629CA8A21}" type="presParOf" srcId="{7CD93213-7397-4B04-AB76-FAAA71679A3E}" destId="{C9FA8F11-4A21-470F-A0F4-14BD96889E99}" srcOrd="4" destOrd="0" presId="urn:microsoft.com/office/officeart/2008/layout/VerticalCurvedList"/>
    <dgm:cxn modelId="{06ED924C-109E-4F95-947D-F29477CECB2D}" type="presParOf" srcId="{C9FA8F11-4A21-470F-A0F4-14BD96889E99}" destId="{27B2C429-60E2-4889-B09A-00F54F9B7D05}" srcOrd="0" destOrd="0" presId="urn:microsoft.com/office/officeart/2008/layout/VerticalCurvedList"/>
    <dgm:cxn modelId="{0E23B97D-3D95-497E-B162-C294269E3DA8}" type="presParOf" srcId="{7CD93213-7397-4B04-AB76-FAAA71679A3E}" destId="{2EC40ED0-4B78-46ED-B6CB-4FC31E370E9F}" srcOrd="5" destOrd="0" presId="urn:microsoft.com/office/officeart/2008/layout/VerticalCurvedList"/>
    <dgm:cxn modelId="{947FB92E-53B5-4CB6-A7ED-915D5B6C92D7}" type="presParOf" srcId="{7CD93213-7397-4B04-AB76-FAAA71679A3E}" destId="{03A27A33-ABD2-4BCC-8A3B-41EEC998A919}" srcOrd="6" destOrd="0" presId="urn:microsoft.com/office/officeart/2008/layout/VerticalCurvedList"/>
    <dgm:cxn modelId="{8841E1E1-5A48-4434-AAED-EC87A1DD7B35}" type="presParOf" srcId="{03A27A33-ABD2-4BCC-8A3B-41EEC998A919}" destId="{B7C0E4BB-1EFA-49EA-9195-37060E0897F9}" srcOrd="0" destOrd="0" presId="urn:microsoft.com/office/officeart/2008/layout/VerticalCurvedList"/>
    <dgm:cxn modelId="{2E6793E9-F088-4849-9376-B1C897FEBA69}" type="presParOf" srcId="{7CD93213-7397-4B04-AB76-FAAA71679A3E}" destId="{3533E0EA-B9CA-473F-9AF5-90FD6F6F5170}" srcOrd="7" destOrd="0" presId="urn:microsoft.com/office/officeart/2008/layout/VerticalCurvedList"/>
    <dgm:cxn modelId="{84C882FD-D224-4718-9B3C-E87F98AC52FE}" type="presParOf" srcId="{7CD93213-7397-4B04-AB76-FAAA71679A3E}" destId="{8F5D3E50-10EF-4AF7-976C-E2372DAE1295}" srcOrd="8" destOrd="0" presId="urn:microsoft.com/office/officeart/2008/layout/VerticalCurvedList"/>
    <dgm:cxn modelId="{49BA8F79-A608-4606-9F1C-0B3E4094878A}" type="presParOf" srcId="{8F5D3E50-10EF-4AF7-976C-E2372DAE1295}" destId="{3DDAA06E-4297-49EB-A8DE-7200FD6F5381}" srcOrd="0" destOrd="0" presId="urn:microsoft.com/office/officeart/2008/layout/VerticalCurvedList"/>
    <dgm:cxn modelId="{7CFC7D5D-5257-4323-A642-39433814491E}" type="presParOf" srcId="{7CD93213-7397-4B04-AB76-FAAA71679A3E}" destId="{318A4CEC-421D-4A4B-AB35-83FD949BA5A1}" srcOrd="9" destOrd="0" presId="urn:microsoft.com/office/officeart/2008/layout/VerticalCurvedList"/>
    <dgm:cxn modelId="{84FC2847-E114-4F22-AB84-EB1EB4DBDD75}" type="presParOf" srcId="{7CD93213-7397-4B04-AB76-FAAA71679A3E}" destId="{25FE917F-4D0D-4C65-A159-652943E04820}" srcOrd="10" destOrd="0" presId="urn:microsoft.com/office/officeart/2008/layout/VerticalCurvedList"/>
    <dgm:cxn modelId="{FAE25C61-5E35-4A41-AF05-230E30F1D297}" type="presParOf" srcId="{25FE917F-4D0D-4C65-A159-652943E04820}" destId="{118700B4-7EAD-44A0-B3D0-8D93717D2E08}" srcOrd="0" destOrd="0" presId="urn:microsoft.com/office/officeart/2008/layout/VerticalCurvedList"/>
    <dgm:cxn modelId="{AB4189EF-D2F7-45EA-BAA9-3185789570AC}" type="presParOf" srcId="{7CD93213-7397-4B04-AB76-FAAA71679A3E}" destId="{1CDC033A-4D7B-4351-9FC2-00F4F8C0507C}" srcOrd="11" destOrd="0" presId="urn:microsoft.com/office/officeart/2008/layout/VerticalCurvedList"/>
    <dgm:cxn modelId="{2A1D32D4-5002-41D3-B8DD-B4361CACDF13}" type="presParOf" srcId="{7CD93213-7397-4B04-AB76-FAAA71679A3E}" destId="{2EBB2F1A-9782-4996-8D0B-FFD24EAC715E}" srcOrd="12" destOrd="0" presId="urn:microsoft.com/office/officeart/2008/layout/VerticalCurvedList"/>
    <dgm:cxn modelId="{DA448906-1AAA-4E6D-A4D8-5B09D8600452}" type="presParOf" srcId="{2EBB2F1A-9782-4996-8D0B-FFD24EAC715E}" destId="{92C2F75D-2E6B-4D4C-9067-351A5C46FE7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702936-E4FA-4019-A72A-21728BC98C33}">
      <dsp:nvSpPr>
        <dsp:cNvPr id="0" name=""/>
        <dsp:cNvSpPr/>
      </dsp:nvSpPr>
      <dsp:spPr>
        <a:xfrm>
          <a:off x="-6778102" y="-1036437"/>
          <a:ext cx="8067276" cy="8067276"/>
        </a:xfrm>
        <a:prstGeom prst="blockArc">
          <a:avLst>
            <a:gd name="adj1" fmla="val 18900000"/>
            <a:gd name="adj2" fmla="val 2700000"/>
            <a:gd name="adj3" fmla="val 268"/>
          </a:avLst>
        </a:prstGeom>
        <a:solidFill>
          <a:schemeClr val="bg1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78E06A-BF48-4327-B289-35215ED7D018}">
      <dsp:nvSpPr>
        <dsp:cNvPr id="0" name=""/>
        <dsp:cNvSpPr/>
      </dsp:nvSpPr>
      <dsp:spPr>
        <a:xfrm>
          <a:off x="479851" y="315665"/>
          <a:ext cx="8728610" cy="63109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Quem é você? 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Escreva uma frase sobre você. Por exemplo, você pode se apresentar como consultor para pequenos empresários.</a:t>
          </a:r>
          <a:endParaRPr lang="es-CO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9851" y="315665"/>
        <a:ext cx="8728610" cy="631090"/>
      </dsp:txXfrm>
    </dsp:sp>
    <dsp:sp modelId="{46BBBD3E-8152-4C45-8412-F3ED8435D29C}">
      <dsp:nvSpPr>
        <dsp:cNvPr id="0" name=""/>
        <dsp:cNvSpPr/>
      </dsp:nvSpPr>
      <dsp:spPr>
        <a:xfrm>
          <a:off x="85420" y="236778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323939-08AE-4FB7-BEDC-1118708BAD97}">
      <dsp:nvSpPr>
        <dsp:cNvPr id="0" name=""/>
        <dsp:cNvSpPr/>
      </dsp:nvSpPr>
      <dsp:spPr>
        <a:xfrm>
          <a:off x="998967" y="1262181"/>
          <a:ext cx="8209495" cy="631090"/>
        </a:xfrm>
        <a:prstGeom prst="rect">
          <a:avLst/>
        </a:prstGeom>
        <a:solidFill>
          <a:schemeClr val="accent4">
            <a:hueOff val="-3106208"/>
            <a:satOff val="4155"/>
            <a:lumOff val="607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O que você faz ou oferece? 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Usando seu produto ou serviço como guia, escreva uma frase sobre o que você faz todos os dias em seu negócio. Se sua ênfase é em técnicas de economia de tempo, informe brevemente como suas estratégias funcionam.</a:t>
          </a:r>
          <a:endParaRPr lang="es-CO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98967" y="1262181"/>
        <a:ext cx="8209495" cy="631090"/>
      </dsp:txXfrm>
    </dsp:sp>
    <dsp:sp modelId="{27B2C429-60E2-4889-B09A-00F54F9B7D05}">
      <dsp:nvSpPr>
        <dsp:cNvPr id="0" name=""/>
        <dsp:cNvSpPr/>
      </dsp:nvSpPr>
      <dsp:spPr>
        <a:xfrm>
          <a:off x="604535" y="1183294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3106208"/>
              <a:satOff val="4155"/>
              <a:lumOff val="60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C40ED0-4B78-46ED-B6CB-4FC31E370E9F}">
      <dsp:nvSpPr>
        <dsp:cNvPr id="0" name=""/>
        <dsp:cNvSpPr/>
      </dsp:nvSpPr>
      <dsp:spPr>
        <a:xfrm>
          <a:off x="1236345" y="2208697"/>
          <a:ext cx="7972117" cy="631090"/>
        </a:xfrm>
        <a:prstGeom prst="rect">
          <a:avLst/>
        </a:prstGeom>
        <a:solidFill>
          <a:schemeClr val="accent4">
            <a:hueOff val="-6212417"/>
            <a:satOff val="8310"/>
            <a:lumOff val="1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Que problema você resolve? 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Identifique o valor que oferece aos seus clientes ou clientes. Evite listar apenas seus recursos e, em vez disso, traduza-os em benefícios para o seu ouvinte.</a:t>
          </a:r>
          <a:endParaRPr lang="es-CO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36345" y="2208697"/>
        <a:ext cx="7972117" cy="631090"/>
      </dsp:txXfrm>
    </dsp:sp>
    <dsp:sp modelId="{B7C0E4BB-1EFA-49EA-9195-37060E0897F9}">
      <dsp:nvSpPr>
        <dsp:cNvPr id="0" name=""/>
        <dsp:cNvSpPr/>
      </dsp:nvSpPr>
      <dsp:spPr>
        <a:xfrm>
          <a:off x="841913" y="2129811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6212417"/>
              <a:satOff val="8310"/>
              <a:lumOff val="1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33E0EA-B9CA-473F-9AF5-90FD6F6F5170}">
      <dsp:nvSpPr>
        <dsp:cNvPr id="0" name=""/>
        <dsp:cNvSpPr/>
      </dsp:nvSpPr>
      <dsp:spPr>
        <a:xfrm>
          <a:off x="1236345" y="3154613"/>
          <a:ext cx="7972117" cy="631090"/>
        </a:xfrm>
        <a:prstGeom prst="rect">
          <a:avLst/>
        </a:prstGeom>
        <a:solidFill>
          <a:schemeClr val="accent4">
            <a:hueOff val="-9318625"/>
            <a:satOff val="12465"/>
            <a:lumOff val="182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Como você é diferente?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 Escreva sobre o que te diferencia de todos os outros negócios. Talvez você tenha tido experiências relevantes e superá-las você mesmo, ou sua empresa tem uma estratégia única</a:t>
          </a:r>
          <a:r>
            <a:rPr lang="en-US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.</a:t>
          </a:r>
          <a:endParaRPr lang="es-CO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236345" y="3154613"/>
        <a:ext cx="7972117" cy="631090"/>
      </dsp:txXfrm>
    </dsp:sp>
    <dsp:sp modelId="{3DDAA06E-4297-49EB-A8DE-7200FD6F5381}">
      <dsp:nvSpPr>
        <dsp:cNvPr id="0" name=""/>
        <dsp:cNvSpPr/>
      </dsp:nvSpPr>
      <dsp:spPr>
        <a:xfrm>
          <a:off x="841913" y="3075727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9318625"/>
              <a:satOff val="12465"/>
              <a:lumOff val="1823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8A4CEC-421D-4A4B-AB35-83FD949BA5A1}">
      <dsp:nvSpPr>
        <dsp:cNvPr id="0" name=""/>
        <dsp:cNvSpPr/>
      </dsp:nvSpPr>
      <dsp:spPr>
        <a:xfrm>
          <a:off x="998967" y="4101130"/>
          <a:ext cx="8209495" cy="631090"/>
        </a:xfrm>
        <a:prstGeom prst="rect">
          <a:avLst/>
        </a:prstGeom>
        <a:solidFill>
          <a:schemeClr val="accent4">
            <a:hueOff val="-12424834"/>
            <a:satOff val="16620"/>
            <a:lumOff val="2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3020" rIns="33020" bIns="33020" numCol="1" spcCol="1270" anchor="ctr" anchorCtr="0">
          <a:noAutofit/>
        </a:bodyPr>
        <a:lstStyle/>
        <a:p>
          <a:pPr marL="0" lvl="0" indent="0" algn="l" defTabSz="555625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25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Faça uma pergunta. </a:t>
          </a:r>
          <a:r>
            <a:rPr lang="pt-BR" sz="125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Os </a:t>
          </a:r>
          <a:r>
            <a:rPr lang="pt-BR" sz="125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es</a:t>
          </a:r>
          <a:r>
            <a:rPr lang="pt-BR" sz="125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 de elevador geralmente são entregues pessoalmente, como um elevador ou em um evento de rede, o que significa que você quer ser social e conversar. Uma ótima maneira de envolver seu ouvinte é fazer uma pergunta que se relacione com eles e seus negócios.</a:t>
          </a:r>
          <a:endParaRPr lang="es-CO" sz="125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98967" y="4101130"/>
        <a:ext cx="8209495" cy="631090"/>
      </dsp:txXfrm>
    </dsp:sp>
    <dsp:sp modelId="{118700B4-7EAD-44A0-B3D0-8D93717D2E08}">
      <dsp:nvSpPr>
        <dsp:cNvPr id="0" name=""/>
        <dsp:cNvSpPr/>
      </dsp:nvSpPr>
      <dsp:spPr>
        <a:xfrm>
          <a:off x="604535" y="4022243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2424834"/>
              <a:satOff val="16620"/>
              <a:lumOff val="2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CDC033A-4D7B-4351-9FC2-00F4F8C0507C}">
      <dsp:nvSpPr>
        <dsp:cNvPr id="0" name=""/>
        <dsp:cNvSpPr/>
      </dsp:nvSpPr>
      <dsp:spPr>
        <a:xfrm>
          <a:off x="479851" y="5047646"/>
          <a:ext cx="8728610" cy="631090"/>
        </a:xfrm>
        <a:prstGeom prst="rect">
          <a:avLst/>
        </a:prstGeom>
        <a:solidFill>
          <a:schemeClr val="accent4">
            <a:hueOff val="-15531042"/>
            <a:satOff val="20775"/>
            <a:lumOff val="3039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0928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None/>
          </a:pPr>
          <a:r>
            <a:rPr lang="pt-BR" sz="1400" b="1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Dê uma chamada à ação. 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Para encerrar seu </a:t>
          </a:r>
          <a:r>
            <a:rPr lang="pt-BR" sz="1400" b="0" i="0" kern="1200" dirty="0" err="1">
              <a:effectLst/>
              <a:latin typeface="Arial" panose="020B0604020202020204" pitchFamily="34" charset="0"/>
              <a:cs typeface="Arial" panose="020B0604020202020204" pitchFamily="34" charset="0"/>
            </a:rPr>
            <a:t>pitch</a:t>
          </a:r>
          <a:r>
            <a:rPr lang="pt-BR" sz="1400" b="0" i="0" kern="1200" dirty="0">
              <a:effectLst/>
              <a:latin typeface="Arial" panose="020B0604020202020204" pitchFamily="34" charset="0"/>
              <a:cs typeface="Arial" panose="020B0604020202020204" pitchFamily="34" charset="0"/>
            </a:rPr>
            <a:t>, dê à liderança algo para fazer em seguida em uma chamada à ação. Deixe seu público saber o que pode fazer para acompanhar e ouvir mais. Forneça um meio para mais contato ou para agendar uma reunião.</a:t>
          </a:r>
          <a:endParaRPr lang="es-CO" sz="1400" b="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9851" y="5047646"/>
        <a:ext cx="8728610" cy="631090"/>
      </dsp:txXfrm>
    </dsp:sp>
    <dsp:sp modelId="{92C2F75D-2E6B-4D4C-9067-351A5C46FE7C}">
      <dsp:nvSpPr>
        <dsp:cNvPr id="0" name=""/>
        <dsp:cNvSpPr/>
      </dsp:nvSpPr>
      <dsp:spPr>
        <a:xfrm>
          <a:off x="85420" y="4968759"/>
          <a:ext cx="788863" cy="78886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-15531042"/>
              <a:satOff val="20775"/>
              <a:lumOff val="3039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23E4BD6-E97A-46A4-AA30-568852B539B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8774AE6-0DA8-408F-8134-DDABC2EE87C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287E9E-D2F8-4C1C-BC9F-E2CABAE66FE1}" type="datetimeFigureOut">
              <a:rPr lang="es-ES_tradnl" smtClean="0"/>
              <a:t>29/06/2022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DC6ADC-9CF6-47F3-86B4-4F7930AEF62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5CB9E5-1AC4-4BEF-9A42-4B32FD446B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63E78-60CA-441E-BA25-D241C8EDB6A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5763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72FAD-8778-405C-8921-79F3C25589D4}" type="datetimeFigureOut">
              <a:rPr lang="es-MX" smtClean="0"/>
              <a:t>29/06/2022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325E69-1CAA-46A9-A4D5-F2855D38AA5E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593068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325E69-1CAA-46A9-A4D5-F2855D38AA5E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325E69-1CAA-46A9-A4D5-F2855D38AA5E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24434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7048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6E1B5B37-6115-49BC-89C1-6D96CB79A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410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59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645681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348886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4747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2920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343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5970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580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0002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4D16436-264F-4351-AD6B-1D2232DAB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B4EA689D-80F7-4CD1-B2F1-CAEA0F1721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2544" y="0"/>
            <a:ext cx="4876800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>
            <a:extLst>
              <a:ext uri="{FF2B5EF4-FFF2-40B4-BE49-F238E27FC236}">
                <a16:creationId xmlns:a16="http://schemas.microsoft.com/office/drawing/2014/main" id="{C76B4DBF-9FB2-49CD-9916-3E041CA5728D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71"/>
          <a:stretch/>
        </p:blipFill>
        <p:spPr bwMode="auto">
          <a:xfrm>
            <a:off x="-1" y="0"/>
            <a:ext cx="3429803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373B186-8D07-4B83-86BE-C88123E3037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619"/>
          <a:stretch/>
        </p:blipFill>
        <p:spPr bwMode="auto">
          <a:xfrm>
            <a:off x="7979344" y="0"/>
            <a:ext cx="4212656" cy="487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8D6260DF-65BA-4B8E-93B3-CC06118EA2D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989"/>
          <a:stretch/>
        </p:blipFill>
        <p:spPr bwMode="auto">
          <a:xfrm>
            <a:off x="-1" y="47117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5B9A083B-30D6-405F-8D76-C6762C4D1B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" t="41448" r="-535" b="14541"/>
          <a:stretch/>
        </p:blipFill>
        <p:spPr bwMode="auto">
          <a:xfrm>
            <a:off x="4876799" y="4876800"/>
            <a:ext cx="4876800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0D8FEBFE-B555-4112-981D-BB471C6AA65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alphaModFix amt="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059" b="55989"/>
          <a:stretch/>
        </p:blipFill>
        <p:spPr bwMode="auto">
          <a:xfrm>
            <a:off x="9902791" y="4711700"/>
            <a:ext cx="2289209" cy="214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485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254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727365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9037011-340B-4BAD-A1B2-4E561233DA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164DBBD2-31FA-49D4-A73C-F5618417CD78}"/>
              </a:ext>
            </a:extLst>
          </p:cNvPr>
          <p:cNvGrpSpPr/>
          <p:nvPr userDrawn="1"/>
        </p:nvGrpSpPr>
        <p:grpSpPr>
          <a:xfrm>
            <a:off x="317500" y="-143933"/>
            <a:ext cx="11874500" cy="7001933"/>
            <a:chOff x="317500" y="-143933"/>
            <a:chExt cx="11874500" cy="700193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65D2D27-6251-427D-8CD6-3877A0D07EA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0" y="-143933"/>
              <a:ext cx="4876800" cy="4876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2A3BC59E-D672-4A55-BAD3-02C118600F0E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894"/>
            <a:stretch/>
          </p:blipFill>
          <p:spPr bwMode="auto">
            <a:xfrm>
              <a:off x="5413692" y="0"/>
              <a:ext cx="4876800" cy="43455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298334-0A8D-4F7D-BB05-50FDF31C692B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7400"/>
            <a:stretch/>
          </p:blipFill>
          <p:spPr bwMode="auto">
            <a:xfrm>
              <a:off x="1660525" y="4732867"/>
              <a:ext cx="4876800" cy="20775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C22F954-1D87-436F-A5A9-D0541938DB3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9185" b="-1"/>
            <a:stretch/>
          </p:blipFill>
          <p:spPr bwMode="auto">
            <a:xfrm rot="5400000">
              <a:off x="9002183" y="2581804"/>
              <a:ext cx="4876800" cy="1502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F425A56-2CCE-4909-8AB3-844871F624B9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 rotWithShape="1">
            <a:blip r:embed="rId4">
              <a:alphaModFix amt="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820" t="10432" r="-2089" b="41651"/>
            <a:stretch/>
          </p:blipFill>
          <p:spPr bwMode="auto">
            <a:xfrm>
              <a:off x="6756717" y="4521199"/>
              <a:ext cx="4207192" cy="2336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799387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81F21DB-5843-46A9-879C-3A5E8A7D92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42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81F21DB-5843-46A9-879C-3A5E8A7D92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6F176DC3-498F-4458-81DC-BF5F57B40C4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200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461840"/>
            <a:ext cx="10972800" cy="706698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1273101"/>
            <a:ext cx="1800000" cy="0"/>
          </a:xfrm>
          <a:prstGeom prst="line">
            <a:avLst/>
          </a:prstGeom>
          <a:noFill/>
          <a:ln w="57150" cap="flat" cmpd="sng" algn="ctr">
            <a:solidFill>
              <a:srgbClr val="EA3A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91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/>
              <a:t>Chapter Tit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103166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  <p:pic>
        <p:nvPicPr>
          <p:cNvPr id="7" name="Imagen 3">
            <a:extLst>
              <a:ext uri="{FF2B5EF4-FFF2-40B4-BE49-F238E27FC236}">
                <a16:creationId xmlns:a16="http://schemas.microsoft.com/office/drawing/2014/main" id="{5DDB46BB-504E-458E-A537-90F6968916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3096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1990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7951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828582C-BE92-49CD-858B-13DF8815C2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3259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E06CCDC3-DD90-4D69-A5D8-FCBF52D817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222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710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Ver las imágenes de origen">
            <a:extLst>
              <a:ext uri="{FF2B5EF4-FFF2-40B4-BE49-F238E27FC236}">
                <a16:creationId xmlns:a16="http://schemas.microsoft.com/office/drawing/2014/main" id="{4E703E8E-4E32-45AE-BC11-E25ACED647D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78" r="21729" b="850"/>
          <a:stretch/>
        </p:blipFill>
        <p:spPr bwMode="auto">
          <a:xfrm flipH="1">
            <a:off x="1269998" y="0"/>
            <a:ext cx="1092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3">
            <a:extLst>
              <a:ext uri="{FF2B5EF4-FFF2-40B4-BE49-F238E27FC236}">
                <a16:creationId xmlns:a16="http://schemas.microsoft.com/office/drawing/2014/main" id="{A02CB5F9-9194-4096-8636-3F5919D04D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464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 userDrawn="1"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>
                <a:solidFill>
                  <a:srgbClr val="EA3A55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5845879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190AE70-C7DE-4E36-8798-0896F466C5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1" t="2075" r="4458" b="1076"/>
          <a:stretch/>
        </p:blipFill>
        <p:spPr>
          <a:xfrm>
            <a:off x="-6695" y="1"/>
            <a:ext cx="12205389" cy="685799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261A137-DD6B-4294-830C-88B81D39DD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47480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719613-E832-4620-BA87-4359242092D5}"/>
              </a:ext>
            </a:extLst>
          </p:cNvPr>
          <p:cNvSpPr txBox="1"/>
          <p:nvPr userDrawn="1"/>
        </p:nvSpPr>
        <p:spPr>
          <a:xfrm>
            <a:off x="609600" y="6496185"/>
            <a:ext cx="527923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GB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Page </a:t>
            </a:r>
            <a:fld id="{9AE4D82F-B047-469B-AC52-A46321747EAF}" type="slidenum">
              <a:rPr lang="en-GB" sz="800" kern="1200" smtClean="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pPr marL="0" algn="ctr" defTabSz="914400" rtl="0" eaLnBrk="1" latinLnBrk="0" hangingPunct="1"/>
              <a:t>‹#›</a:t>
            </a:fld>
            <a:endParaRPr lang="en-GB" sz="800" kern="1200">
              <a:solidFill>
                <a:schemeClr val="tx1"/>
              </a:solidFill>
              <a:latin typeface="EYInterstate Light" panose="02000506000000020004" pitchFamily="2" charset="0"/>
              <a:ea typeface="+mn-ea"/>
              <a:cs typeface="+mn-cs"/>
            </a:endParaRP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F51043E7-0453-4947-A971-36D68605E35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045952" y="6327649"/>
            <a:ext cx="536448" cy="412867"/>
            <a:chOff x="7110" y="4004"/>
            <a:chExt cx="191" cy="19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0D1321DF-59A2-46B5-A741-5F9533F768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95DEF224-4BDC-4900-91F3-F957A6BE305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FA626A2-897F-4C3A-9317-132BA54CA7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800">
                <a:solidFill>
                  <a:schemeClr val="tx1"/>
                </a:solidFill>
                <a:latin typeface="EYInterstate Light" panose="02000506000000020004" pitchFamily="2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9900689-D0A1-433C-ABFE-041164272DD5}"/>
              </a:ext>
            </a:extLst>
          </p:cNvPr>
          <p:cNvSpPr txBox="1"/>
          <p:nvPr userDrawn="1"/>
        </p:nvSpPr>
        <p:spPr>
          <a:xfrm>
            <a:off x="5654641" y="6521725"/>
            <a:ext cx="882721" cy="12311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0" algn="ctr" defTabSz="914400" rtl="0" eaLnBrk="1" latinLnBrk="0" hangingPunct="1"/>
            <a:r>
              <a:rPr lang="en-IN" sz="800" kern="1200">
                <a:solidFill>
                  <a:schemeClr val="tx1"/>
                </a:solidFill>
                <a:latin typeface="EYInterstate Light" panose="02000506000000020004" pitchFamily="2" charset="0"/>
                <a:ea typeface="+mn-ea"/>
                <a:cs typeface="+mn-cs"/>
              </a:rPr>
              <a:t>EY POWER Up</a:t>
            </a:r>
          </a:p>
        </p:txBody>
      </p:sp>
    </p:spTree>
    <p:extLst>
      <p:ext uri="{BB962C8B-B14F-4D97-AF65-F5344CB8AC3E}">
        <p14:creationId xmlns:p14="http://schemas.microsoft.com/office/powerpoint/2010/main" val="666027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B34AE16-8082-4E8F-A152-7D608DAFC3CE}"/>
              </a:ext>
            </a:extLst>
          </p:cNvPr>
          <p:cNvCxnSpPr>
            <a:cxnSpLocks/>
          </p:cNvCxnSpPr>
          <p:nvPr userDrawn="1"/>
        </p:nvCxnSpPr>
        <p:spPr>
          <a:xfrm>
            <a:off x="1290587" y="1233035"/>
            <a:ext cx="7160394" cy="0"/>
          </a:xfrm>
          <a:prstGeom prst="line">
            <a:avLst/>
          </a:prstGeom>
          <a:ln w="9525">
            <a:solidFill>
              <a:srgbClr val="EA3A5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2793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59352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D122A6A-E87D-4B92-904F-81FA3E9576D6}"/>
              </a:ext>
            </a:extLst>
          </p:cNvPr>
          <p:cNvSpPr/>
          <p:nvPr userDrawn="1"/>
        </p:nvSpPr>
        <p:spPr>
          <a:xfrm>
            <a:off x="1269186" y="1135976"/>
            <a:ext cx="9541689" cy="5173134"/>
          </a:xfrm>
          <a:custGeom>
            <a:avLst/>
            <a:gdLst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5173134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8607 w 9208607"/>
              <a:gd name="connsiteY2" fmla="*/ 3589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8607"/>
              <a:gd name="connsiteY0" fmla="*/ 0 h 5173134"/>
              <a:gd name="connsiteX1" fmla="*/ 9208607 w 9208607"/>
              <a:gd name="connsiteY1" fmla="*/ 0 h 5173134"/>
              <a:gd name="connsiteX2" fmla="*/ 9200140 w 9208607"/>
              <a:gd name="connsiteY2" fmla="*/ 3716867 h 5173134"/>
              <a:gd name="connsiteX3" fmla="*/ 0 w 9208607"/>
              <a:gd name="connsiteY3" fmla="*/ 5173134 h 5173134"/>
              <a:gd name="connsiteX4" fmla="*/ 0 w 9208607"/>
              <a:gd name="connsiteY4" fmla="*/ 0 h 5173134"/>
              <a:gd name="connsiteX0" fmla="*/ 0 w 9209421"/>
              <a:gd name="connsiteY0" fmla="*/ 0 h 5173134"/>
              <a:gd name="connsiteX1" fmla="*/ 9208607 w 9209421"/>
              <a:gd name="connsiteY1" fmla="*/ 0 h 5173134"/>
              <a:gd name="connsiteX2" fmla="*/ 9208607 w 9209421"/>
              <a:gd name="connsiteY2" fmla="*/ 3759201 h 5173134"/>
              <a:gd name="connsiteX3" fmla="*/ 0 w 9209421"/>
              <a:gd name="connsiteY3" fmla="*/ 5173134 h 5173134"/>
              <a:gd name="connsiteX4" fmla="*/ 0 w 9209421"/>
              <a:gd name="connsiteY4" fmla="*/ 0 h 517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09421" h="5173134">
                <a:moveTo>
                  <a:pt x="0" y="0"/>
                </a:moveTo>
                <a:lnTo>
                  <a:pt x="9208607" y="0"/>
                </a:lnTo>
                <a:cubicBezTo>
                  <a:pt x="9205785" y="1238956"/>
                  <a:pt x="9211429" y="2520245"/>
                  <a:pt x="9208607" y="3759201"/>
                </a:cubicBezTo>
                <a:lnTo>
                  <a:pt x="0" y="517313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2233CC0D-0D94-4C61-9698-A9A5C2F767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51096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376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19211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A45A21FB-7988-4B88-B265-0D14E4D602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0751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220568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59D4E56A-5705-480C-A56C-EA2C4F2FC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9287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 0 Al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cto 185">
            <a:extLst>
              <a:ext uri="{FF2B5EF4-FFF2-40B4-BE49-F238E27FC236}">
                <a16:creationId xmlns:a16="http://schemas.microsoft.com/office/drawing/2014/main" id="{15BEB3CA-A99B-403C-973D-1EB6212FAA56}"/>
              </a:ext>
            </a:extLst>
          </p:cNvPr>
          <p:cNvCxnSpPr/>
          <p:nvPr userDrawn="1"/>
        </p:nvCxnSpPr>
        <p:spPr>
          <a:xfrm>
            <a:off x="584742" y="1577130"/>
            <a:ext cx="0" cy="356260"/>
          </a:xfrm>
          <a:prstGeom prst="line">
            <a:avLst/>
          </a:prstGeom>
          <a:noFill/>
          <a:ln w="76200" cap="flat" cmpd="sng" algn="ctr">
            <a:solidFill>
              <a:srgbClr val="EA3A55"/>
            </a:solidFill>
            <a:prstDash val="solid"/>
            <a:miter lim="800000"/>
          </a:ln>
          <a:effectLst/>
        </p:spPr>
      </p:cxnSp>
      <p:pic>
        <p:nvPicPr>
          <p:cNvPr id="4" name="Imagen 3">
            <a:extLst>
              <a:ext uri="{FF2B5EF4-FFF2-40B4-BE49-F238E27FC236}">
                <a16:creationId xmlns:a16="http://schemas.microsoft.com/office/drawing/2014/main" id="{B7748EE4-40E2-4C4D-9701-6CFE9E0CDC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rgbClr val="EA3A5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9884" y="141471"/>
            <a:ext cx="1502833" cy="376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0632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24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670" r:id="rId2"/>
    <p:sldLayoutId id="2147483699" r:id="rId3"/>
    <p:sldLayoutId id="2147483711" r:id="rId4"/>
    <p:sldLayoutId id="2147483985" r:id="rId5"/>
    <p:sldLayoutId id="2147483983" r:id="rId6"/>
    <p:sldLayoutId id="2147483986" r:id="rId7"/>
    <p:sldLayoutId id="2147483990" r:id="rId8"/>
    <p:sldLayoutId id="2147483989" r:id="rId9"/>
    <p:sldLayoutId id="2147483987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6221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10" r:id="rId6"/>
    <p:sldLayoutId id="2147484011" r:id="rId7"/>
    <p:sldLayoutId id="2147484012" r:id="rId8"/>
    <p:sldLayoutId id="2147484013" r:id="rId9"/>
    <p:sldLayoutId id="2147484014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281CDC-D1D4-4F04-9840-456D233527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56770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281CDC-D1D4-4F04-9840-456D233527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1BD1DB-0BED-4B26-9D4D-918AD44E57C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131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2" r:id="rId6"/>
    <p:sldLayoutId id="2147484023" r:id="rId7"/>
    <p:sldLayoutId id="2147484024" r:id="rId8"/>
    <p:sldLayoutId id="2147484026" r:id="rId9"/>
    <p:sldLayoutId id="2147484025" r:id="rId10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video" Target="https://www.youtube.com/embed/7a_lu7ilpnI?feature=oembed" TargetMode="External"/><Relationship Id="rId13" Type="http://schemas.openxmlformats.org/officeDocument/2006/relationships/image" Target="../media/image10.jpeg"/><Relationship Id="rId18" Type="http://schemas.openxmlformats.org/officeDocument/2006/relationships/image" Target="../media/image15.jpeg"/><Relationship Id="rId3" Type="http://schemas.openxmlformats.org/officeDocument/2006/relationships/video" Target="https://www.youtube.com/embed/cM2BTr5-w-I?feature=oembed" TargetMode="External"/><Relationship Id="rId7" Type="http://schemas.openxmlformats.org/officeDocument/2006/relationships/video" Target="https://www.youtube.com/embed/5StqzLftUf4?feature=oembed" TargetMode="External"/><Relationship Id="rId12" Type="http://schemas.openxmlformats.org/officeDocument/2006/relationships/image" Target="../media/image9.jpeg"/><Relationship Id="rId17" Type="http://schemas.openxmlformats.org/officeDocument/2006/relationships/image" Target="../media/image14.jpeg"/><Relationship Id="rId2" Type="http://schemas.openxmlformats.org/officeDocument/2006/relationships/video" Target="https://www.youtube.com/embed/Q3wa-tWIlUc?feature=oembed" TargetMode="External"/><Relationship Id="rId16" Type="http://schemas.openxmlformats.org/officeDocument/2006/relationships/image" Target="../media/image13.jpeg"/><Relationship Id="rId1" Type="http://schemas.openxmlformats.org/officeDocument/2006/relationships/video" Target="https://www.youtube.com/embed/i6O98o2FRHw?feature=oembed" TargetMode="External"/><Relationship Id="rId6" Type="http://schemas.openxmlformats.org/officeDocument/2006/relationships/video" Target="https://www.youtube.com/embed/uv357YzY7-k?feature=oembed" TargetMode="External"/><Relationship Id="rId11" Type="http://schemas.openxmlformats.org/officeDocument/2006/relationships/image" Target="../media/image8.jpeg"/><Relationship Id="rId5" Type="http://schemas.openxmlformats.org/officeDocument/2006/relationships/video" Target="https://www.youtube.com/embed/ELHNkj8mAEE?feature=oembed" TargetMode="Externa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16.jpeg"/><Relationship Id="rId4" Type="http://schemas.openxmlformats.org/officeDocument/2006/relationships/video" Target="https://www.youtube.com/embed/z96oEIEY-RY?feature=oembed" TargetMode="External"/><Relationship Id="rId9" Type="http://schemas.openxmlformats.org/officeDocument/2006/relationships/video" Target="https://www.youtube.com/embed/VCVRgpSPSVQ?feature=oembed" TargetMode="External"/><Relationship Id="rId1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43827" y="574797"/>
            <a:ext cx="10838046" cy="1824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pt-BR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hora de trabalharmos juntas!
</a:t>
            </a:r>
            <a:r>
              <a:rPr lang="en-GB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O EM GRUPO</a:t>
            </a:r>
            <a:r>
              <a:rPr kumimoji="0" lang="es-CO" sz="4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Pitch de elevador”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3692B0D-82AC-41A6-A5BD-1A4B9AC9B985}"/>
              </a:ext>
            </a:extLst>
          </p:cNvPr>
          <p:cNvSpPr txBox="1"/>
          <p:nvPr/>
        </p:nvSpPr>
        <p:spPr>
          <a:xfrm>
            <a:off x="3590131" y="3069064"/>
            <a:ext cx="7791741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es-CO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de entrega: </a:t>
            </a:r>
            <a:r>
              <a:rPr lang="es-CO" sz="28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Segunda-</a:t>
            </a:r>
            <a:r>
              <a:rPr lang="es-CO" sz="2800" b="1" dirty="0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feira</a:t>
            </a:r>
            <a:r>
              <a:rPr lang="es-CO" sz="28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18 de </a:t>
            </a:r>
            <a:r>
              <a:rPr lang="es-CO" sz="2800" b="1" dirty="0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julho</a:t>
            </a:r>
            <a:endParaRPr kumimoji="0" lang="es-CO" sz="28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highlight>
                <a:srgbClr val="EA3A55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8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highlight>
                <a:srgbClr val="EA3A55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pt-BR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ste documento você encontrará as instruções para entregar o </a:t>
            </a:r>
            <a:r>
              <a:rPr lang="pt-BR" sz="28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elevador, bem como alguns exemplos de um guia</a:t>
            </a:r>
            <a:r>
              <a:rPr lang="es-CO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es-CO" sz="28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D1D0FC29-B937-45E1-8F7D-DDBCFA643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602" y="3564959"/>
            <a:ext cx="2116755" cy="211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31805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C3E24BFF-A0DB-4ECE-96D3-5EAB937B7323}"/>
              </a:ext>
            </a:extLst>
          </p:cNvPr>
          <p:cNvSpPr txBox="1"/>
          <p:nvPr/>
        </p:nvSpPr>
        <p:spPr>
          <a:xfrm>
            <a:off x="553451" y="536669"/>
            <a:ext cx="10838046" cy="901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GB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O EM GRUPO</a:t>
            </a:r>
            <a:r>
              <a:rPr lang="es-CO" sz="4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s-CO" sz="4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 de elevador</a:t>
            </a:r>
            <a:r>
              <a:rPr lang="es-CO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en-GB" sz="4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90C4ECCF-9B28-475A-8668-643F413BD5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0659308"/>
              </p:ext>
            </p:extLst>
          </p:nvPr>
        </p:nvGraphicFramePr>
        <p:xfrm>
          <a:off x="1198033" y="3225919"/>
          <a:ext cx="9795934" cy="301921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897967">
                  <a:extLst>
                    <a:ext uri="{9D8B030D-6E8A-4147-A177-3AD203B41FA5}">
                      <a16:colId xmlns:a16="http://schemas.microsoft.com/office/drawing/2014/main" val="2726736430"/>
                    </a:ext>
                  </a:extLst>
                </a:gridCol>
                <a:gridCol w="4897967">
                  <a:extLst>
                    <a:ext uri="{9D8B030D-6E8A-4147-A177-3AD203B41FA5}">
                      <a16:colId xmlns:a16="http://schemas.microsoft.com/office/drawing/2014/main" val="728345699"/>
                    </a:ext>
                  </a:extLst>
                </a:gridCol>
              </a:tblGrid>
              <a:tr h="431316">
                <a:tc>
                  <a:txBody>
                    <a:bodyPr/>
                    <a:lstStyle/>
                    <a:p>
                      <a:r>
                        <a:rPr lang="es-CO" dirty="0"/>
                        <a:t>Nome completo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es-CO" dirty="0"/>
                        <a:t>Emai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2735045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040114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299672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554175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995841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1588468"/>
                  </a:ext>
                </a:extLst>
              </a:tr>
              <a:tr h="431316"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s-CO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414125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C46E46B2-8DA6-4180-BE6E-D6D94C9C18D5}"/>
              </a:ext>
            </a:extLst>
          </p:cNvPr>
          <p:cNvSpPr txBox="1"/>
          <p:nvPr/>
        </p:nvSpPr>
        <p:spPr>
          <a:xfrm>
            <a:off x="639233" y="1611936"/>
            <a:ext cx="1075226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tipo de tabela a seguir os </a:t>
            </a:r>
            <a:r>
              <a:rPr lang="pt-BR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omes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</a:t>
            </a:r>
            <a:r>
              <a:rPr lang="pt-BR" dirty="0">
                <a:solidFill>
                  <a:schemeClr val="bg1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-mail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s membros do grupo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sas informações serão usadas para carregar a qualificação do desafio para a </a:t>
            </a:r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Americas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demy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 isso é muito importante que os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dos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ja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guais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o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u="sng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</a:t>
            </a:r>
            <a:r>
              <a:rPr lang="en-GB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ademia</a:t>
            </a:r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576568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mas perguntas norteadoras do “</a:t>
            </a:r>
            <a:r>
              <a:rPr lang="pt-B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elevador”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2CB9D27-7E73-46DE-82DB-95B71ABE2F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4005011"/>
              </p:ext>
            </p:extLst>
          </p:nvPr>
        </p:nvGraphicFramePr>
        <p:xfrm>
          <a:off x="1405466" y="592666"/>
          <a:ext cx="9293883" cy="59944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6707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uns</a:t>
            </a: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os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Online Media 1" title="Elevator Pitch Winner">
            <a:hlinkClick r:id="" action="ppaction://media"/>
            <a:extLst>
              <a:ext uri="{FF2B5EF4-FFF2-40B4-BE49-F238E27FC236}">
                <a16:creationId xmlns:a16="http://schemas.microsoft.com/office/drawing/2014/main" id="{D431665D-C260-4B31-98CA-1BC9D6C71AF7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11"/>
          <a:stretch>
            <a:fillRect/>
          </a:stretch>
        </p:blipFill>
        <p:spPr>
          <a:xfrm>
            <a:off x="1896731" y="1117098"/>
            <a:ext cx="2540000" cy="1435100"/>
          </a:xfrm>
          <a:prstGeom prst="rect">
            <a:avLst/>
          </a:prstGeom>
        </p:spPr>
      </p:pic>
      <p:pic>
        <p:nvPicPr>
          <p:cNvPr id="11" name="Online Media 6" title="Pitch criativo surpreende os tubarões | Shark Tank Brasil">
            <a:hlinkClick r:id="" action="ppaction://media"/>
            <a:extLst>
              <a:ext uri="{FF2B5EF4-FFF2-40B4-BE49-F238E27FC236}">
                <a16:creationId xmlns:a16="http://schemas.microsoft.com/office/drawing/2014/main" id="{F2F5A9EE-6937-4783-A5D4-C506B4E908E5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12"/>
          <a:stretch>
            <a:fillRect/>
          </a:stretch>
        </p:blipFill>
        <p:spPr>
          <a:xfrm>
            <a:off x="4707466" y="4779433"/>
            <a:ext cx="2540000" cy="1435100"/>
          </a:xfrm>
          <a:prstGeom prst="rect">
            <a:avLst/>
          </a:prstGeom>
        </p:spPr>
      </p:pic>
      <p:pic>
        <p:nvPicPr>
          <p:cNvPr id="12" name="Online Media 7" title="Elevator Pitch: exemplos práticos">
            <a:hlinkClick r:id="" action="ppaction://media"/>
            <a:extLst>
              <a:ext uri="{FF2B5EF4-FFF2-40B4-BE49-F238E27FC236}">
                <a16:creationId xmlns:a16="http://schemas.microsoft.com/office/drawing/2014/main" id="{1A601AE5-FE0B-4A6D-AFFF-EBA9C8404687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13"/>
          <a:stretch>
            <a:fillRect/>
          </a:stretch>
        </p:blipFill>
        <p:spPr>
          <a:xfrm>
            <a:off x="1896731" y="4779433"/>
            <a:ext cx="2540000" cy="1435100"/>
          </a:xfrm>
          <a:prstGeom prst="rect">
            <a:avLst/>
          </a:prstGeom>
        </p:spPr>
      </p:pic>
      <p:pic>
        <p:nvPicPr>
          <p:cNvPr id="13" name="Online Media 8" title="DEMO Brasil Pitch STARTUP Chegue.Lá - São Carlos SP">
            <a:hlinkClick r:id="" action="ppaction://media"/>
            <a:extLst>
              <a:ext uri="{FF2B5EF4-FFF2-40B4-BE49-F238E27FC236}">
                <a16:creationId xmlns:a16="http://schemas.microsoft.com/office/drawing/2014/main" id="{8FD478F3-A91A-445A-8AD4-6B3A5F798387}"/>
              </a:ext>
            </a:extLst>
          </p:cNvPr>
          <p:cNvPicPr>
            <a:picLocks noRot="1" noChangeAspect="1"/>
          </p:cNvPicPr>
          <p:nvPr>
            <a:videoFile r:link="rId4"/>
          </p:nvPr>
        </p:nvPicPr>
        <p:blipFill>
          <a:blip r:embed="rId14"/>
          <a:stretch>
            <a:fillRect/>
          </a:stretch>
        </p:blipFill>
        <p:spPr>
          <a:xfrm>
            <a:off x="1896731" y="2919690"/>
            <a:ext cx="2540000" cy="1435100"/>
          </a:xfrm>
          <a:prstGeom prst="rect">
            <a:avLst/>
          </a:prstGeom>
        </p:spPr>
      </p:pic>
      <p:pic>
        <p:nvPicPr>
          <p:cNvPr id="14" name="Online Media 2" title="&quot;¡El mejor pitch que he visto!&quot; 😱 | Shark Tank Colombia">
            <a:hlinkClick r:id="" action="ppaction://media"/>
            <a:extLst>
              <a:ext uri="{FF2B5EF4-FFF2-40B4-BE49-F238E27FC236}">
                <a16:creationId xmlns:a16="http://schemas.microsoft.com/office/drawing/2014/main" id="{38F146BF-8F5A-4F87-A05B-893C327A2A6D}"/>
              </a:ext>
            </a:extLst>
          </p:cNvPr>
          <p:cNvPicPr>
            <a:picLocks noRot="1" noChangeAspect="1"/>
          </p:cNvPicPr>
          <p:nvPr>
            <a:videoFile r:link="rId5"/>
          </p:nvPr>
        </p:nvPicPr>
        <p:blipFill>
          <a:blip r:embed="rId15"/>
          <a:stretch>
            <a:fillRect/>
          </a:stretch>
        </p:blipFill>
        <p:spPr>
          <a:xfrm>
            <a:off x="4707466" y="1117098"/>
            <a:ext cx="2540000" cy="1435100"/>
          </a:xfrm>
          <a:prstGeom prst="rect">
            <a:avLst/>
          </a:prstGeom>
        </p:spPr>
      </p:pic>
      <p:pic>
        <p:nvPicPr>
          <p:cNvPr id="15" name="Online Media 4" title="Ejemplo de Elevator Pitch para presentarte tú o un proyecto">
            <a:hlinkClick r:id="" action="ppaction://media"/>
            <a:extLst>
              <a:ext uri="{FF2B5EF4-FFF2-40B4-BE49-F238E27FC236}">
                <a16:creationId xmlns:a16="http://schemas.microsoft.com/office/drawing/2014/main" id="{5F8D88EE-A55F-48A0-8934-F2F089AF38D1}"/>
              </a:ext>
            </a:extLst>
          </p:cNvPr>
          <p:cNvPicPr>
            <a:picLocks noRot="1" noChangeAspect="1"/>
          </p:cNvPicPr>
          <p:nvPr>
            <a:videoFile r:link="rId6"/>
          </p:nvPr>
        </p:nvPicPr>
        <p:blipFill>
          <a:blip r:embed="rId16"/>
          <a:stretch>
            <a:fillRect/>
          </a:stretch>
        </p:blipFill>
        <p:spPr>
          <a:xfrm>
            <a:off x="7662333" y="4779433"/>
            <a:ext cx="2540000" cy="1435100"/>
          </a:xfrm>
          <a:prstGeom prst="rect">
            <a:avLst/>
          </a:prstGeom>
        </p:spPr>
      </p:pic>
      <p:pic>
        <p:nvPicPr>
          <p:cNvPr id="16" name="Online Media 5" title="&quot;Eres la emprendedora más preparada que se ha parado allí enfrente&quot; | Shark Tank México">
            <a:hlinkClick r:id="" action="ppaction://media"/>
            <a:extLst>
              <a:ext uri="{FF2B5EF4-FFF2-40B4-BE49-F238E27FC236}">
                <a16:creationId xmlns:a16="http://schemas.microsoft.com/office/drawing/2014/main" id="{A5ABE426-ACBF-42B4-A6D6-32CB4B4C0BAB}"/>
              </a:ext>
            </a:extLst>
          </p:cNvPr>
          <p:cNvPicPr>
            <a:picLocks noRot="1" noChangeAspect="1"/>
          </p:cNvPicPr>
          <p:nvPr>
            <a:videoFile r:link="rId7"/>
          </p:nvPr>
        </p:nvPicPr>
        <p:blipFill>
          <a:blip r:embed="rId17"/>
          <a:stretch>
            <a:fillRect/>
          </a:stretch>
        </p:blipFill>
        <p:spPr>
          <a:xfrm>
            <a:off x="7662333" y="2919690"/>
            <a:ext cx="2540000" cy="1435100"/>
          </a:xfrm>
          <a:prstGeom prst="rect">
            <a:avLst/>
          </a:prstGeom>
        </p:spPr>
      </p:pic>
      <p:pic>
        <p:nvPicPr>
          <p:cNvPr id="17" name="Online Media 9" title="Best STARTUP PITCH ever. Silicon Valley.">
            <a:hlinkClick r:id="" action="ppaction://media"/>
            <a:extLst>
              <a:ext uri="{FF2B5EF4-FFF2-40B4-BE49-F238E27FC236}">
                <a16:creationId xmlns:a16="http://schemas.microsoft.com/office/drawing/2014/main" id="{F44DC3A0-ABCD-4E50-A089-83E47582C0DA}"/>
              </a:ext>
            </a:extLst>
          </p:cNvPr>
          <p:cNvPicPr>
            <a:picLocks noRot="1" noChangeAspect="1"/>
          </p:cNvPicPr>
          <p:nvPr>
            <a:videoFile r:link="rId8"/>
          </p:nvPr>
        </p:nvPicPr>
        <p:blipFill>
          <a:blip r:embed="rId18"/>
          <a:stretch>
            <a:fillRect/>
          </a:stretch>
        </p:blipFill>
        <p:spPr>
          <a:xfrm>
            <a:off x="4707466" y="2919690"/>
            <a:ext cx="2540000" cy="1435100"/>
          </a:xfrm>
          <a:prstGeom prst="rect">
            <a:avLst/>
          </a:prstGeom>
        </p:spPr>
      </p:pic>
      <p:pic>
        <p:nvPicPr>
          <p:cNvPr id="18" name="Online Media 10" title="Winner &quot;Best Pitch&quot; Competition - Willy Green (Party on Demand)">
            <a:hlinkClick r:id="" action="ppaction://media"/>
            <a:extLst>
              <a:ext uri="{FF2B5EF4-FFF2-40B4-BE49-F238E27FC236}">
                <a16:creationId xmlns:a16="http://schemas.microsoft.com/office/drawing/2014/main" id="{E2AA9FA2-C80A-425F-B022-0D21F9EAA357}"/>
              </a:ext>
            </a:extLst>
          </p:cNvPr>
          <p:cNvPicPr>
            <a:picLocks noRot="1" noChangeAspect="1"/>
          </p:cNvPicPr>
          <p:nvPr>
            <a:videoFile r:link="rId9"/>
          </p:nvPr>
        </p:nvPicPr>
        <p:blipFill>
          <a:blip r:embed="rId19"/>
          <a:stretch>
            <a:fillRect/>
          </a:stretch>
        </p:blipFill>
        <p:spPr>
          <a:xfrm>
            <a:off x="7662333" y="1116595"/>
            <a:ext cx="2540000" cy="143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9054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2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6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0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4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8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39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0" fill="hold">
                      <p:stCondLst>
                        <p:cond delay="0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3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seq concurrent="1" nextAc="seek">
              <p:cTn id="44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5" fill="hold">
                      <p:stCondLst>
                        <p:cond delay="0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8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49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0" fill="hold">
                      <p:stCondLst>
                        <p:cond delay="0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3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seq concurrent="1" nextAc="seek">
              <p:cTn id="54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5" fill="hold">
                      <p:stCondLst>
                        <p:cond delay="0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58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  <p:seq concurrent="1" nextAc="seek">
              <p:cTn id="59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0" fill="hold">
                      <p:stCondLst>
                        <p:cond delay="0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3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seq concurrent="1" nextAc="seek">
              <p:cTn id="64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5" fill="hold">
                      <p:stCondLst>
                        <p:cond delay="0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8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seq concurrent="1" nextAc="seek">
              <p:cTn id="69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0" fill="hold">
                      <p:stCondLst>
                        <p:cond delay="0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73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  <p:seq concurrent="1" nextAc="seek">
              <p:cTn id="74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5" fill="hold">
                      <p:stCondLst>
                        <p:cond delay="0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78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seq concurrent="1" nextAc="seek">
              <p:cTn id="79" restart="whenNotActive" fill="hold" evtFilter="cancelBubble" nodeType="interactiveSeq">
                <p:stCondLst>
                  <p:cond evt="onClick" delay="0">
                    <p:tgtEl>
                      <p:spTgt spid="1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0" fill="hold">
                      <p:stCondLst>
                        <p:cond delay="0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83" dur="1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8"/>
                  </p:tgtEl>
                </p:cond>
              </p:nextCondLst>
            </p:seq>
            <p:video>
              <p:cMediaNode vol="80000">
                <p:cTn id="84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>
                <p:cTn id="85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video>
              <p:cMediaNode vol="80000">
                <p:cTn id="86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video>
              <p:cMediaNode vol="80000">
                <p:cTn id="8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video>
              <p:cMediaNode vol="80000">
                <p:cTn id="88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  <p:video>
              <p:cMediaNode vol="80000">
                <p:cTn id="89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video>
              <p:cMediaNode vol="80000">
                <p:cTn id="90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  <p:video>
              <p:cMediaNode vol="80000">
                <p:cTn id="91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video>
              <p:cMediaNode vol="80000">
                <p:cTn id="92" fill="hold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truções</a:t>
            </a:r>
            <a:endParaRPr lang="es-CO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49E39F-F76B-4529-AA0D-759FC5E76058}"/>
              </a:ext>
            </a:extLst>
          </p:cNvPr>
          <p:cNvSpPr txBox="1"/>
          <p:nvPr/>
        </p:nvSpPr>
        <p:spPr>
          <a:xfrm>
            <a:off x="871542" y="1390366"/>
            <a:ext cx="10448916" cy="3985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lvl="0" indent="-457200">
              <a:lnSpc>
                <a:spcPct val="150000"/>
              </a:lnSpc>
              <a:buFontTx/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seus grupos eles devem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lanejar um </a:t>
            </a:r>
            <a:r>
              <a:rPr lang="pt-BR" sz="2000" b="1" dirty="0" err="1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de elevador para uma das empresas membros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 seja, eles devem escrever o discurso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marR="0" lvl="0" indent="-4572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s-CO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0" indent="-457200">
              <a:lnSpc>
                <a:spcPct val="150000"/>
              </a:lnSpc>
              <a:buFontTx/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representante da empresa deve apresentar o </a:t>
            </a:r>
            <a:r>
              <a:rPr lang="pt-BR" sz="20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levador para os outros participantes e estes devem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ontribuir com feedback para melhorar a fala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lvl="0" indent="-457200">
              <a:lnSpc>
                <a:spcPct val="150000"/>
              </a:lnSpc>
              <a:spcBef>
                <a:spcPts val="2000"/>
              </a:spcBef>
              <a:buFontTx/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mente, o representante da empresa deve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>
                <a:solidFill>
                  <a:prstClr val="white"/>
                </a:solidFill>
                <a:highlight>
                  <a:srgbClr val="EA3A55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gravar um vídeo de 5 minutos no máximo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que ele apresenta seu </a:t>
            </a:r>
            <a:r>
              <a:rPr lang="pt-BR" sz="20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elevador apertado com os comentários de seus companheiros de equipe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kumimoji="0" lang="es-CO" sz="20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1859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76E031-57AE-42BC-A053-96A2FC870AA8}"/>
              </a:ext>
            </a:extLst>
          </p:cNvPr>
          <p:cNvSpPr txBox="1"/>
          <p:nvPr/>
        </p:nvSpPr>
        <p:spPr>
          <a:xfrm>
            <a:off x="745265" y="267184"/>
            <a:ext cx="9293884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s-CO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aciones adiciona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517DF4-1816-4D94-8554-7D5EE68F9C77}"/>
              </a:ext>
            </a:extLst>
          </p:cNvPr>
          <p:cNvSpPr txBox="1"/>
          <p:nvPr/>
        </p:nvSpPr>
        <p:spPr>
          <a:xfrm>
            <a:off x="745265" y="1342617"/>
            <a:ext cx="10448916" cy="4651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vídeo NÃO pode durar mais do que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minutos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te </a:t>
            </a:r>
            <a:r>
              <a:rPr lang="es-CO" sz="20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quivar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srgbClr val="A97F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itch fluido 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</a:t>
            </a:r>
            <a:r>
              <a:rPr lang="es-CO" sz="2000" b="1" dirty="0" err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perta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CO" sz="2000" b="1" dirty="0" err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esse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 ouvintes, não se trata de memorizar um discurso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enas o vídeo será levado em conta para a qualificação, eles não devem enviar quaisquer documentos adicionais</a:t>
            </a: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es-CO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 importante </a:t>
            </a:r>
            <a:r>
              <a:rPr lang="pt-BR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tir a qualidade do som e do vídeo</a:t>
            </a:r>
            <a:r>
              <a:rPr lang="es-CO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342900">
              <a:lnSpc>
                <a:spcPct val="150000"/>
              </a:lnSpc>
              <a:buAutoNum type="arabicPeriod"/>
              <a:defRPr/>
            </a:pPr>
            <a:r>
              <a:rPr lang="pt-BR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os exemplos apresentados como fonte de inspiração, mas não se concentre em imitá-los </a:t>
            </a:r>
            <a:r>
              <a:rPr lang="pt-BR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e do sucesso do </a:t>
            </a:r>
            <a:r>
              <a:rPr lang="pt-BR" sz="2000" b="1" dirty="0" err="1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tch</a:t>
            </a:r>
            <a:r>
              <a:rPr lang="pt-BR" sz="2000" b="1" dirty="0">
                <a:solidFill>
                  <a:srgbClr val="A97F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elevador está em sua autenticidade que depende puramente do valor que seus negócios têm para você, os usuários e os investidores.</a:t>
            </a:r>
            <a:r>
              <a:rPr kumimoji="0" lang="es-CO" sz="2000" b="1" i="0" u="none" strike="noStrike" kern="1200" cap="none" spc="0" normalizeH="0" baseline="0" dirty="0">
                <a:ln>
                  <a:noFill/>
                </a:ln>
                <a:solidFill>
                  <a:srgbClr val="A97FF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28196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zyUykInx.urylw2A3z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9Mc56GFxoq7BWvWblaA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C4F6F202B989444B8E513D90358DBD5" ma:contentTypeVersion="16" ma:contentTypeDescription="Criar um novo documento." ma:contentTypeScope="" ma:versionID="5716da5cc4a9b695852797157f59f5a4">
  <xsd:schema xmlns:xsd="http://www.w3.org/2001/XMLSchema" xmlns:xs="http://www.w3.org/2001/XMLSchema" xmlns:p="http://schemas.microsoft.com/office/2006/metadata/properties" xmlns:ns2="f7497011-41e9-4539-8eaa-a91e26322fc1" xmlns:ns3="36ab4214-ab26-4180-94f5-c882e3796056" xmlns:ns4="50c908b1-f277-4340-90a9-4611d0b0f078" targetNamespace="http://schemas.microsoft.com/office/2006/metadata/properties" ma:root="true" ma:fieldsID="2078f8d0cb709985c61f0866b3e3e39f" ns2:_="" ns3:_="" ns4:_="">
    <xsd:import namespace="f7497011-41e9-4539-8eaa-a91e26322fc1"/>
    <xsd:import namespace="36ab4214-ab26-4180-94f5-c882e3796056"/>
    <xsd:import namespace="50c908b1-f277-4340-90a9-4611d0b0f0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97011-41e9-4539-8eaa-a91e26322f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Etiquetas de Imagem" ma:readOnly="false" ma:fieldId="{5cf76f15-5ced-4ddc-b409-7134ff3c332f}" ma:taxonomyMulti="true" ma:sspId="33ef62f9-2e07-484b-bd79-00aec90129f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ab4214-ab26-4180-94f5-c882e3796056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talhes de 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c908b1-f277-4340-90a9-4611d0b0f078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e94d8fc-1e66-4f71-a6c2-6ba77f95e9eb}" ma:internalName="TaxCatchAll" ma:showField="CatchAllData" ma:web="36ab4214-ab26-4180-94f5-c882e37960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6ab4214-ab26-4180-94f5-c882e3796056">
      <UserInfo>
        <DisplayName>Monica Betancourt</DisplayName>
        <AccountId>14</AccountId>
        <AccountType/>
      </UserInfo>
      <UserInfo>
        <DisplayName>Marcela Mesa1</DisplayName>
        <AccountId>88</AccountId>
        <AccountType/>
      </UserInfo>
      <UserInfo>
        <DisplayName>Daniel Muñoz Segura</DisplayName>
        <AccountId>64</AccountId>
        <AccountType/>
      </UserInfo>
      <UserInfo>
        <DisplayName>Katerine Schifino</DisplayName>
        <AccountId>16</AccountId>
        <AccountType/>
      </UserInfo>
    </SharedWithUsers>
    <TaxCatchAll xmlns="50c908b1-f277-4340-90a9-4611d0b0f078" xsi:nil="true"/>
    <lcf76f155ced4ddcb4097134ff3c332f xmlns="f7497011-41e9-4539-8eaa-a91e26322fc1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FEBD0AE-4C18-4A23-B4DC-6E6B1C1ACE7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B4B0905-61B5-4747-968D-93B7829596B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497011-41e9-4539-8eaa-a91e26322fc1"/>
    <ds:schemaRef ds:uri="36ab4214-ab26-4180-94f5-c882e3796056"/>
    <ds:schemaRef ds:uri="50c908b1-f277-4340-90a9-4611d0b0f0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2397B2F-AA3E-4435-ABBB-477580938829}">
  <ds:schemaRefs>
    <ds:schemaRef ds:uri="http://schemas.microsoft.com/office/infopath/2007/PartnerControls"/>
    <ds:schemaRef ds:uri="f7497011-41e9-4539-8eaa-a91e26322fc1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50c908b1-f277-4340-90a9-4611d0b0f078"/>
    <ds:schemaRef ds:uri="http://schemas.microsoft.com/office/2006/documentManagement/types"/>
    <ds:schemaRef ds:uri="36ab4214-ab26-4180-94f5-c882e3796056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00</TotalTime>
  <Words>549</Words>
  <Application>Microsoft Office PowerPoint</Application>
  <PresentationFormat>Widescreen</PresentationFormat>
  <Paragraphs>30</Paragraphs>
  <Slides>6</Slides>
  <Notes>2</Notes>
  <HiddenSlides>0</HiddenSlides>
  <MMClips>9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EYInterstate Light</vt:lpstr>
      <vt:lpstr>Georgia</vt:lpstr>
      <vt:lpstr>EY dark background</vt:lpstr>
      <vt:lpstr>2_EY dark background</vt:lpstr>
      <vt:lpstr>1_EY dark background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acy Unongo</dc:creator>
  <cp:lastModifiedBy>Stacy Unongo</cp:lastModifiedBy>
  <cp:revision>16</cp:revision>
  <dcterms:created xsi:type="dcterms:W3CDTF">2020-11-16T13:23:13Z</dcterms:created>
  <dcterms:modified xsi:type="dcterms:W3CDTF">2022-06-29T18:5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84780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7C4F6F202B989444B8E513D90358DBD5</vt:lpwstr>
  </property>
  <property fmtid="{D5CDD505-2E9C-101B-9397-08002B2CF9AE}" pid="6" name="MediaServiceImageTags">
    <vt:lpwstr/>
  </property>
</Properties>
</file>